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sldIdLst>
    <p:sldId id="256" r:id="rId2"/>
    <p:sldId id="260" r:id="rId3"/>
    <p:sldId id="275" r:id="rId4"/>
    <p:sldId id="273" r:id="rId5"/>
    <p:sldId id="276" r:id="rId6"/>
    <p:sldId id="277" r:id="rId7"/>
    <p:sldId id="278" r:id="rId8"/>
    <p:sldId id="280" r:id="rId9"/>
    <p:sldId id="279" r:id="rId10"/>
    <p:sldId id="272" r:id="rId11"/>
    <p:sldId id="282" r:id="rId12"/>
    <p:sldId id="281" r:id="rId13"/>
  </p:sldIdLst>
  <p:sldSz cx="9144000" cy="6858000" type="screen4x3"/>
  <p:notesSz cx="6858000" cy="9144000"/>
  <p:custDataLst>
    <p:tags r:id="rId15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66" d="100"/>
          <a:sy n="66" d="100"/>
        </p:scale>
        <p:origin x="-1404" y="-7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8824121-1DD9-43B6-B771-7D80D0646928}" type="doc">
      <dgm:prSet loTypeId="urn:microsoft.com/office/officeart/2005/8/layout/hProcess9" loCatId="process" qsTypeId="urn:microsoft.com/office/officeart/2005/8/quickstyle/simple1" qsCatId="simple" csTypeId="urn:microsoft.com/office/officeart/2005/8/colors/accent1_1" csCatId="accent1" phldr="1"/>
      <dgm:spPr/>
    </dgm:pt>
    <dgm:pt modelId="{33CA763D-3457-4531-9A8F-09B5570F2748}">
      <dgm:prSet phldrT="[Текст]" custT="1"/>
      <dgm:spPr>
        <a:ln w="9525">
          <a:solidFill>
            <a:srgbClr val="C00000"/>
          </a:solidFill>
        </a:ln>
      </dgm:spPr>
      <dgm:t>
        <a:bodyPr/>
        <a:lstStyle/>
        <a:p>
          <a:r>
            <a:rPr lang="ru-RU" sz="1200" b="1" dirty="0" smtClean="0">
              <a:latin typeface="Arial" panose="020B0604020202020204" pitchFamily="34" charset="0"/>
              <a:cs typeface="Arial" panose="020B0604020202020204" pitchFamily="34" charset="0"/>
            </a:rPr>
            <a:t>Заседания отраслевых групп Координационного совета под председательством заместителя мэра</a:t>
          </a:r>
          <a:endParaRPr lang="ru-RU" sz="12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FCA5297-B640-4940-B5F7-0FD2366E81D7}" type="parTrans" cxnId="{9A2DB2DB-549D-449B-A4DE-BC0E097266F9}">
      <dgm:prSet/>
      <dgm:spPr/>
      <dgm:t>
        <a:bodyPr/>
        <a:lstStyle/>
        <a:p>
          <a:endParaRPr lang="ru-RU" sz="1200"/>
        </a:p>
      </dgm:t>
    </dgm:pt>
    <dgm:pt modelId="{66EB2EA4-B6B1-4D9F-9279-6FF6FD676646}" type="sibTrans" cxnId="{9A2DB2DB-549D-449B-A4DE-BC0E097266F9}">
      <dgm:prSet/>
      <dgm:spPr/>
      <dgm:t>
        <a:bodyPr/>
        <a:lstStyle/>
        <a:p>
          <a:endParaRPr lang="ru-RU" sz="1200"/>
        </a:p>
      </dgm:t>
    </dgm:pt>
    <dgm:pt modelId="{786E34F3-58BD-4DC0-82D8-347DE628EB60}">
      <dgm:prSet phldrT="[Текст]" custT="1"/>
      <dgm:spPr>
        <a:ln w="9525">
          <a:solidFill>
            <a:srgbClr val="C00000"/>
          </a:solidFill>
        </a:ln>
      </dgm:spPr>
      <dgm:t>
        <a:bodyPr/>
        <a:lstStyle/>
        <a:p>
          <a:r>
            <a:rPr lang="ru-RU" sz="1200" b="1" smtClean="0">
              <a:latin typeface="Arial" panose="020B0604020202020204" pitchFamily="34" charset="0"/>
              <a:cs typeface="Arial" panose="020B0604020202020204" pitchFamily="34" charset="0"/>
            </a:rPr>
            <a:t>Заседания Координационного совета под председательством мэра</a:t>
          </a:r>
          <a:endParaRPr lang="ru-RU" sz="12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D7E7895-2B47-4EBA-8B81-7444CB2D6243}" type="parTrans" cxnId="{1CA79BC5-F485-4A5D-B820-9034ED67E7AE}">
      <dgm:prSet/>
      <dgm:spPr/>
      <dgm:t>
        <a:bodyPr/>
        <a:lstStyle/>
        <a:p>
          <a:endParaRPr lang="ru-RU" sz="1200"/>
        </a:p>
      </dgm:t>
    </dgm:pt>
    <dgm:pt modelId="{2EF80BCD-8DBF-402C-860A-6706CBB8C354}" type="sibTrans" cxnId="{1CA79BC5-F485-4A5D-B820-9034ED67E7AE}">
      <dgm:prSet/>
      <dgm:spPr/>
      <dgm:t>
        <a:bodyPr/>
        <a:lstStyle/>
        <a:p>
          <a:endParaRPr lang="ru-RU" sz="1200"/>
        </a:p>
      </dgm:t>
    </dgm:pt>
    <dgm:pt modelId="{55C7F2A9-14DB-4003-9B99-FA082FB53AF8}">
      <dgm:prSet phldrT="[Текст]" custT="1"/>
      <dgm:spPr>
        <a:ln w="9525">
          <a:solidFill>
            <a:srgbClr val="C00000"/>
          </a:solidFill>
        </a:ln>
      </dgm:spPr>
      <dgm:t>
        <a:bodyPr/>
        <a:lstStyle/>
        <a:p>
          <a:r>
            <a:rPr lang="ru-RU" sz="1200" b="1" smtClean="0">
              <a:latin typeface="Arial" panose="020B0604020202020204" pitchFamily="34" charset="0"/>
              <a:cs typeface="Arial" panose="020B0604020202020204" pitchFamily="34" charset="0"/>
            </a:rPr>
            <a:t>Исполнение решения</a:t>
          </a:r>
          <a:endParaRPr lang="ru-RU" sz="12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D265BD4-561B-4F7B-B0AA-4C91840C5F4D}" type="parTrans" cxnId="{B1E49622-57CB-4702-BC1C-E74CC75E803A}">
      <dgm:prSet/>
      <dgm:spPr/>
      <dgm:t>
        <a:bodyPr/>
        <a:lstStyle/>
        <a:p>
          <a:endParaRPr lang="ru-RU" sz="1200"/>
        </a:p>
      </dgm:t>
    </dgm:pt>
    <dgm:pt modelId="{915D7E16-AF70-49C4-84B1-A4D22A521DD8}" type="sibTrans" cxnId="{B1E49622-57CB-4702-BC1C-E74CC75E803A}">
      <dgm:prSet/>
      <dgm:spPr/>
      <dgm:t>
        <a:bodyPr/>
        <a:lstStyle/>
        <a:p>
          <a:endParaRPr lang="ru-RU" sz="1200"/>
        </a:p>
      </dgm:t>
    </dgm:pt>
    <dgm:pt modelId="{B8DAEFA3-4A41-4072-9DA4-1528FAE55AB2}" type="pres">
      <dgm:prSet presAssocID="{E8824121-1DD9-43B6-B771-7D80D0646928}" presName="CompostProcess" presStyleCnt="0">
        <dgm:presLayoutVars>
          <dgm:dir/>
          <dgm:resizeHandles val="exact"/>
        </dgm:presLayoutVars>
      </dgm:prSet>
      <dgm:spPr/>
    </dgm:pt>
    <dgm:pt modelId="{560E9EBF-8D82-4906-9AD7-2F9E20AA81F1}" type="pres">
      <dgm:prSet presAssocID="{E8824121-1DD9-43B6-B771-7D80D0646928}" presName="arrow" presStyleLbl="bgShp" presStyleIdx="0" presStyleCnt="1" custLinFactNeighborX="1111" custLinFactNeighborY="0"/>
      <dgm:spPr>
        <a:solidFill>
          <a:schemeClr val="bg1">
            <a:lumMod val="85000"/>
          </a:schemeClr>
        </a:solidFill>
      </dgm:spPr>
    </dgm:pt>
    <dgm:pt modelId="{244E53C3-196C-4FEE-988C-EA1345F199CF}" type="pres">
      <dgm:prSet presAssocID="{E8824121-1DD9-43B6-B771-7D80D0646928}" presName="linearProcess" presStyleCnt="0"/>
      <dgm:spPr/>
    </dgm:pt>
    <dgm:pt modelId="{F9E07B90-B9FE-49FE-BA40-ABC6EFA26BCB}" type="pres">
      <dgm:prSet presAssocID="{33CA763D-3457-4531-9A8F-09B5570F2748}" presName="text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89D8FB2-3C2F-45AF-BD91-6AEFF1866CD8}" type="pres">
      <dgm:prSet presAssocID="{66EB2EA4-B6B1-4D9F-9279-6FF6FD676646}" presName="sibTrans" presStyleCnt="0"/>
      <dgm:spPr/>
    </dgm:pt>
    <dgm:pt modelId="{C46F949B-74F8-4485-88A6-C303507E96EC}" type="pres">
      <dgm:prSet presAssocID="{786E34F3-58BD-4DC0-82D8-347DE628EB60}" presName="text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B6C1814-1072-4F1C-BD0A-C815787345A4}" type="pres">
      <dgm:prSet presAssocID="{2EF80BCD-8DBF-402C-860A-6706CBB8C354}" presName="sibTrans" presStyleCnt="0"/>
      <dgm:spPr/>
    </dgm:pt>
    <dgm:pt modelId="{9AC8EF71-EB29-4F1C-BF05-F1BBF634DB46}" type="pres">
      <dgm:prSet presAssocID="{55C7F2A9-14DB-4003-9B99-FA082FB53AF8}" presName="textNode" presStyleLbl="node1" presStyleIdx="2" presStyleCnt="3" custScaleX="5636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6F56C4D2-3187-4C4C-99EB-32E840F7DFFA}" type="presOf" srcId="{786E34F3-58BD-4DC0-82D8-347DE628EB60}" destId="{C46F949B-74F8-4485-88A6-C303507E96EC}" srcOrd="0" destOrd="0" presId="urn:microsoft.com/office/officeart/2005/8/layout/hProcess9"/>
    <dgm:cxn modelId="{34F5FC4A-EB0E-45B7-A218-5F834F0C829C}" type="presOf" srcId="{55C7F2A9-14DB-4003-9B99-FA082FB53AF8}" destId="{9AC8EF71-EB29-4F1C-BF05-F1BBF634DB46}" srcOrd="0" destOrd="0" presId="urn:microsoft.com/office/officeart/2005/8/layout/hProcess9"/>
    <dgm:cxn modelId="{1CA79BC5-F485-4A5D-B820-9034ED67E7AE}" srcId="{E8824121-1DD9-43B6-B771-7D80D0646928}" destId="{786E34F3-58BD-4DC0-82D8-347DE628EB60}" srcOrd="1" destOrd="0" parTransId="{0D7E7895-2B47-4EBA-8B81-7444CB2D6243}" sibTransId="{2EF80BCD-8DBF-402C-860A-6706CBB8C354}"/>
    <dgm:cxn modelId="{0B75C20B-95E9-4C98-87DB-1DA0AAC7617F}" type="presOf" srcId="{E8824121-1DD9-43B6-B771-7D80D0646928}" destId="{B8DAEFA3-4A41-4072-9DA4-1528FAE55AB2}" srcOrd="0" destOrd="0" presId="urn:microsoft.com/office/officeart/2005/8/layout/hProcess9"/>
    <dgm:cxn modelId="{B7D8B4F3-40CD-44D7-B2E0-9613B36B75C2}" type="presOf" srcId="{33CA763D-3457-4531-9A8F-09B5570F2748}" destId="{F9E07B90-B9FE-49FE-BA40-ABC6EFA26BCB}" srcOrd="0" destOrd="0" presId="urn:microsoft.com/office/officeart/2005/8/layout/hProcess9"/>
    <dgm:cxn modelId="{9A2DB2DB-549D-449B-A4DE-BC0E097266F9}" srcId="{E8824121-1DD9-43B6-B771-7D80D0646928}" destId="{33CA763D-3457-4531-9A8F-09B5570F2748}" srcOrd="0" destOrd="0" parTransId="{0FCA5297-B640-4940-B5F7-0FD2366E81D7}" sibTransId="{66EB2EA4-B6B1-4D9F-9279-6FF6FD676646}"/>
    <dgm:cxn modelId="{B1E49622-57CB-4702-BC1C-E74CC75E803A}" srcId="{E8824121-1DD9-43B6-B771-7D80D0646928}" destId="{55C7F2A9-14DB-4003-9B99-FA082FB53AF8}" srcOrd="2" destOrd="0" parTransId="{FD265BD4-561B-4F7B-B0AA-4C91840C5F4D}" sibTransId="{915D7E16-AF70-49C4-84B1-A4D22A521DD8}"/>
    <dgm:cxn modelId="{C734D3C6-A8D3-45E3-A985-51BD81C4CB03}" type="presParOf" srcId="{B8DAEFA3-4A41-4072-9DA4-1528FAE55AB2}" destId="{560E9EBF-8D82-4906-9AD7-2F9E20AA81F1}" srcOrd="0" destOrd="0" presId="urn:microsoft.com/office/officeart/2005/8/layout/hProcess9"/>
    <dgm:cxn modelId="{C8951763-2A08-422A-9B11-968DB42725FA}" type="presParOf" srcId="{B8DAEFA3-4A41-4072-9DA4-1528FAE55AB2}" destId="{244E53C3-196C-4FEE-988C-EA1345F199CF}" srcOrd="1" destOrd="0" presId="urn:microsoft.com/office/officeart/2005/8/layout/hProcess9"/>
    <dgm:cxn modelId="{124FB881-3E21-4B6E-B393-F99E9AABB8B5}" type="presParOf" srcId="{244E53C3-196C-4FEE-988C-EA1345F199CF}" destId="{F9E07B90-B9FE-49FE-BA40-ABC6EFA26BCB}" srcOrd="0" destOrd="0" presId="urn:microsoft.com/office/officeart/2005/8/layout/hProcess9"/>
    <dgm:cxn modelId="{E0EB2C44-092A-408F-AEB2-74EFDDDC0DDA}" type="presParOf" srcId="{244E53C3-196C-4FEE-988C-EA1345F199CF}" destId="{E89D8FB2-3C2F-45AF-BD91-6AEFF1866CD8}" srcOrd="1" destOrd="0" presId="urn:microsoft.com/office/officeart/2005/8/layout/hProcess9"/>
    <dgm:cxn modelId="{6F02F3CE-606D-4998-857F-5FF634756A30}" type="presParOf" srcId="{244E53C3-196C-4FEE-988C-EA1345F199CF}" destId="{C46F949B-74F8-4485-88A6-C303507E96EC}" srcOrd="2" destOrd="0" presId="urn:microsoft.com/office/officeart/2005/8/layout/hProcess9"/>
    <dgm:cxn modelId="{30A0B1E5-96A2-45A5-B752-DDCDDBFCE895}" type="presParOf" srcId="{244E53C3-196C-4FEE-988C-EA1345F199CF}" destId="{BB6C1814-1072-4F1C-BD0A-C815787345A4}" srcOrd="3" destOrd="0" presId="urn:microsoft.com/office/officeart/2005/8/layout/hProcess9"/>
    <dgm:cxn modelId="{F8B812EB-F914-4048-A152-5A797506E674}" type="presParOf" srcId="{244E53C3-196C-4FEE-988C-EA1345F199CF}" destId="{9AC8EF71-EB29-4F1C-BF05-F1BBF634DB46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D7FB896-6074-4512-8B28-505ADE9F69FE}" type="doc">
      <dgm:prSet loTypeId="urn:microsoft.com/office/officeart/2005/8/layout/default#2" loCatId="list" qsTypeId="urn:microsoft.com/office/officeart/2005/8/quickstyle/simple4" qsCatId="simple" csTypeId="urn:microsoft.com/office/officeart/2005/8/colors/accent1_5" csCatId="accent1" phldr="1"/>
      <dgm:spPr/>
      <dgm:t>
        <a:bodyPr/>
        <a:lstStyle/>
        <a:p>
          <a:endParaRPr lang="ru-RU"/>
        </a:p>
      </dgm:t>
    </dgm:pt>
    <dgm:pt modelId="{97A86850-C834-4956-939A-195E227B16D2}">
      <dgm:prSet custT="1"/>
      <dgm:spPr>
        <a:solidFill>
          <a:schemeClr val="bg1">
            <a:lumMod val="65000"/>
          </a:schemeClr>
        </a:solidFill>
      </dgm:spPr>
      <dgm:t>
        <a:bodyPr/>
        <a:lstStyle/>
        <a:p>
          <a:pPr rtl="0"/>
          <a:r>
            <a:rPr lang="ru-RU" sz="12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Торговля</a:t>
          </a:r>
          <a:endParaRPr lang="ru-RU" sz="1200" b="1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22AD9A5-D74D-43CA-A78F-C9489C35733E}" type="parTrans" cxnId="{79C7390A-0BB4-4C5C-9D2D-A9329CB68FA3}">
      <dgm:prSet/>
      <dgm:spPr/>
      <dgm:t>
        <a:bodyPr/>
        <a:lstStyle/>
        <a:p>
          <a:endParaRPr lang="ru-RU" sz="3600" b="1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70BE7A4-375C-464B-9DDD-442A548D3FE3}" type="sibTrans" cxnId="{79C7390A-0BB4-4C5C-9D2D-A9329CB68FA3}">
      <dgm:prSet/>
      <dgm:spPr/>
      <dgm:t>
        <a:bodyPr/>
        <a:lstStyle/>
        <a:p>
          <a:endParaRPr lang="ru-RU" sz="3600" b="1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456EAAA-89DE-4705-9F48-D8D9304E184E}">
      <dgm:prSet custT="1"/>
      <dgm:spPr>
        <a:solidFill>
          <a:schemeClr val="bg1">
            <a:lumMod val="65000"/>
          </a:schemeClr>
        </a:solidFill>
      </dgm:spPr>
      <dgm:t>
        <a:bodyPr/>
        <a:lstStyle/>
        <a:p>
          <a:pPr rtl="0"/>
          <a:r>
            <a:rPr lang="ru-RU" sz="12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Пищевое производство и общественное питание</a:t>
          </a:r>
          <a:endParaRPr lang="ru-RU" sz="1200" b="1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D3E8518-E775-4B60-B11E-404ACDD3D6F6}" type="parTrans" cxnId="{EF4E48AD-971E-44A9-9334-05ABA4D5E2E7}">
      <dgm:prSet/>
      <dgm:spPr/>
      <dgm:t>
        <a:bodyPr/>
        <a:lstStyle/>
        <a:p>
          <a:endParaRPr lang="ru-RU" sz="3600" b="1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7A6E051-88B6-465E-B329-BED825B9E8A2}" type="sibTrans" cxnId="{EF4E48AD-971E-44A9-9334-05ABA4D5E2E7}">
      <dgm:prSet/>
      <dgm:spPr/>
      <dgm:t>
        <a:bodyPr/>
        <a:lstStyle/>
        <a:p>
          <a:endParaRPr lang="ru-RU" sz="3600" b="1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4F62552-C3D6-4D7A-A22A-B2373AC8ECCE}">
      <dgm:prSet custT="1"/>
      <dgm:spPr>
        <a:solidFill>
          <a:schemeClr val="bg1">
            <a:lumMod val="65000"/>
          </a:schemeClr>
        </a:solidFill>
      </dgm:spPr>
      <dgm:t>
        <a:bodyPr/>
        <a:lstStyle/>
        <a:p>
          <a:pPr rtl="0"/>
          <a:r>
            <a:rPr lang="ru-RU" sz="12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Туризм</a:t>
          </a:r>
          <a:endParaRPr lang="ru-RU" sz="1200" b="1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B340211-A089-4556-9AC7-2425DA6D4C11}" type="parTrans" cxnId="{7AE1BD33-83C1-4B4D-A838-84BA6049C03A}">
      <dgm:prSet/>
      <dgm:spPr/>
      <dgm:t>
        <a:bodyPr/>
        <a:lstStyle/>
        <a:p>
          <a:endParaRPr lang="ru-RU" sz="3600" b="1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BBA3A15-8505-4879-BA12-C39C80CB7322}" type="sibTrans" cxnId="{7AE1BD33-83C1-4B4D-A838-84BA6049C03A}">
      <dgm:prSet/>
      <dgm:spPr/>
      <dgm:t>
        <a:bodyPr/>
        <a:lstStyle/>
        <a:p>
          <a:endParaRPr lang="ru-RU" sz="3600" b="1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B9EE55B-3A4C-4A0E-AFAB-923CF8800E66}">
      <dgm:prSet custT="1"/>
      <dgm:spPr>
        <a:solidFill>
          <a:schemeClr val="bg1">
            <a:lumMod val="65000"/>
          </a:schemeClr>
        </a:solidFill>
      </dgm:spPr>
      <dgm:t>
        <a:bodyPr/>
        <a:lstStyle/>
        <a:p>
          <a:pPr rtl="0"/>
          <a:r>
            <a:rPr lang="ru-RU" sz="1200" b="1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Строительство</a:t>
          </a:r>
          <a:endParaRPr lang="ru-RU" sz="1200" b="1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D90605F-1C5B-4763-AA2E-2D9253962C1A}" type="parTrans" cxnId="{E415B3A4-3357-4F7D-B001-1B409D34924A}">
      <dgm:prSet/>
      <dgm:spPr/>
      <dgm:t>
        <a:bodyPr/>
        <a:lstStyle/>
        <a:p>
          <a:endParaRPr lang="ru-RU" sz="3600" b="1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A4186BB-09DC-4B8D-803E-1DDACB4BB651}" type="sibTrans" cxnId="{E415B3A4-3357-4F7D-B001-1B409D34924A}">
      <dgm:prSet/>
      <dgm:spPr/>
      <dgm:t>
        <a:bodyPr/>
        <a:lstStyle/>
        <a:p>
          <a:endParaRPr lang="ru-RU" sz="3600" b="1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3F31492-6FE2-4B35-B1B9-0DCF768C0EBF}">
      <dgm:prSet custT="1"/>
      <dgm:spPr>
        <a:solidFill>
          <a:schemeClr val="bg1">
            <a:lumMod val="75000"/>
          </a:schemeClr>
        </a:solidFill>
      </dgm:spPr>
      <dgm:t>
        <a:bodyPr/>
        <a:lstStyle/>
        <a:p>
          <a:pPr rtl="0"/>
          <a:r>
            <a:rPr lang="ru-RU" sz="1200" b="1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Производство</a:t>
          </a:r>
          <a:endParaRPr lang="ru-RU" sz="1200" b="1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142DA27-97AB-4941-8878-7EDCEF255BD7}" type="parTrans" cxnId="{8D6D69C1-21FF-4090-BE81-D4E133B039ED}">
      <dgm:prSet/>
      <dgm:spPr/>
      <dgm:t>
        <a:bodyPr/>
        <a:lstStyle/>
        <a:p>
          <a:endParaRPr lang="ru-RU" sz="3600" b="1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9C4AC89-6FD5-42DD-9C61-0FE2FADF1543}" type="sibTrans" cxnId="{8D6D69C1-21FF-4090-BE81-D4E133B039ED}">
      <dgm:prSet/>
      <dgm:spPr/>
      <dgm:t>
        <a:bodyPr/>
        <a:lstStyle/>
        <a:p>
          <a:endParaRPr lang="ru-RU" sz="3600" b="1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803BF3B-86F6-4D31-B1A1-D3934B583C77}">
      <dgm:prSet custT="1"/>
      <dgm:spPr>
        <a:solidFill>
          <a:schemeClr val="bg1">
            <a:lumMod val="75000"/>
          </a:schemeClr>
        </a:solidFill>
      </dgm:spPr>
      <dgm:t>
        <a:bodyPr/>
        <a:lstStyle/>
        <a:p>
          <a:pPr rtl="0"/>
          <a:r>
            <a:rPr lang="ru-RU" sz="12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Деревообработка</a:t>
          </a:r>
          <a:endParaRPr lang="ru-RU" sz="1200" b="1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B18F7A3-F307-46FC-9C06-F116597EBCB0}" type="parTrans" cxnId="{52BD6B42-F697-4D4C-A102-65AA999FEAE6}">
      <dgm:prSet/>
      <dgm:spPr/>
      <dgm:t>
        <a:bodyPr/>
        <a:lstStyle/>
        <a:p>
          <a:endParaRPr lang="ru-RU" sz="3600" b="1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40A27A1-64AA-4CBF-B90D-3E05241A9CC8}" type="sibTrans" cxnId="{52BD6B42-F697-4D4C-A102-65AA999FEAE6}">
      <dgm:prSet/>
      <dgm:spPr/>
      <dgm:t>
        <a:bodyPr/>
        <a:lstStyle/>
        <a:p>
          <a:endParaRPr lang="ru-RU" sz="3600" b="1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34965BB-CB39-4F19-9ED1-7A53661387E5}">
      <dgm:prSet custT="1"/>
      <dgm:spPr>
        <a:solidFill>
          <a:schemeClr val="bg1">
            <a:lumMod val="75000"/>
          </a:schemeClr>
        </a:solidFill>
      </dgm:spPr>
      <dgm:t>
        <a:bodyPr/>
        <a:lstStyle/>
        <a:p>
          <a:pPr rtl="0"/>
          <a:r>
            <a:rPr lang="ru-RU" sz="1200" b="1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Образование</a:t>
          </a:r>
          <a:endParaRPr lang="ru-RU" sz="1200" b="1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50A3B78-CF04-4550-A4D6-E3CCEBF5728E}" type="parTrans" cxnId="{1BEAA8EF-DF7B-4A52-863C-9FC9AF8D1654}">
      <dgm:prSet/>
      <dgm:spPr/>
      <dgm:t>
        <a:bodyPr/>
        <a:lstStyle/>
        <a:p>
          <a:endParaRPr lang="ru-RU" sz="3600" b="1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330CCA4-0AFF-40B4-A265-AACE431EC989}" type="sibTrans" cxnId="{1BEAA8EF-DF7B-4A52-863C-9FC9AF8D1654}">
      <dgm:prSet/>
      <dgm:spPr/>
      <dgm:t>
        <a:bodyPr/>
        <a:lstStyle/>
        <a:p>
          <a:endParaRPr lang="ru-RU" sz="3600" b="1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7E9BF27-7CCD-4E7B-8234-0296522A2AB5}">
      <dgm:prSet custT="1"/>
      <dgm:spPr>
        <a:solidFill>
          <a:schemeClr val="bg1">
            <a:lumMod val="75000"/>
          </a:schemeClr>
        </a:solidFill>
      </dgm:spPr>
      <dgm:t>
        <a:bodyPr/>
        <a:lstStyle/>
        <a:p>
          <a:pPr rtl="0"/>
          <a:r>
            <a:rPr lang="ru-RU" sz="12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Здравоохранение</a:t>
          </a:r>
          <a:endParaRPr lang="ru-RU" sz="1200" b="1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40A25CA-8FC8-4A9B-B5A5-0955FE5BF4C6}" type="parTrans" cxnId="{CEB887FB-31A7-427F-8B0D-40EF6AC41A7E}">
      <dgm:prSet/>
      <dgm:spPr/>
      <dgm:t>
        <a:bodyPr/>
        <a:lstStyle/>
        <a:p>
          <a:endParaRPr lang="ru-RU" sz="3600" b="1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22BCC41-1E48-4045-9856-BD06AF316146}" type="sibTrans" cxnId="{CEB887FB-31A7-427F-8B0D-40EF6AC41A7E}">
      <dgm:prSet/>
      <dgm:spPr/>
      <dgm:t>
        <a:bodyPr/>
        <a:lstStyle/>
        <a:p>
          <a:endParaRPr lang="ru-RU" sz="3600" b="1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FC19C04-2180-49EA-BAAA-DC2DDF0972EC}">
      <dgm:prSet custT="1"/>
      <dgm:spPr>
        <a:solidFill>
          <a:schemeClr val="bg1">
            <a:lumMod val="85000"/>
          </a:schemeClr>
        </a:solidFill>
      </dgm:spPr>
      <dgm:t>
        <a:bodyPr/>
        <a:lstStyle/>
        <a:p>
          <a:pPr rtl="0"/>
          <a:r>
            <a:rPr lang="ru-RU" sz="12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Реклама </a:t>
          </a:r>
          <a:endParaRPr lang="ru-RU" sz="1200" b="1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4B88AF1-7F39-4532-8F95-9D0C1CA6D4BC}" type="parTrans" cxnId="{EBD92478-C4E9-4ABB-AF96-847C51605CF1}">
      <dgm:prSet/>
      <dgm:spPr/>
      <dgm:t>
        <a:bodyPr/>
        <a:lstStyle/>
        <a:p>
          <a:endParaRPr lang="ru-RU" sz="3600" b="1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CBEDF06-FFCD-4289-A835-FBF3C868B133}" type="sibTrans" cxnId="{EBD92478-C4E9-4ABB-AF96-847C51605CF1}">
      <dgm:prSet/>
      <dgm:spPr/>
      <dgm:t>
        <a:bodyPr/>
        <a:lstStyle/>
        <a:p>
          <a:endParaRPr lang="ru-RU" sz="3600" b="1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3D2F2EF-FAFD-40EC-8478-B0B2E60452FE}">
      <dgm:prSet custT="1"/>
      <dgm:spPr>
        <a:solidFill>
          <a:schemeClr val="bg1">
            <a:lumMod val="85000"/>
          </a:schemeClr>
        </a:solidFill>
      </dgm:spPr>
      <dgm:t>
        <a:bodyPr/>
        <a:lstStyle/>
        <a:p>
          <a:pPr rtl="0"/>
          <a:r>
            <a:rPr lang="ru-RU" sz="1200" b="1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ЖКХ</a:t>
          </a:r>
          <a:endParaRPr lang="ru-RU" sz="1200" b="1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B75B86D-6AB3-4333-8346-AC0E0BACC694}" type="parTrans" cxnId="{FA1F51D2-ABC6-49B7-B0F5-633E2C40CF22}">
      <dgm:prSet/>
      <dgm:spPr/>
      <dgm:t>
        <a:bodyPr/>
        <a:lstStyle/>
        <a:p>
          <a:endParaRPr lang="ru-RU" sz="3600" b="1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90FB6C1-F85D-4925-A3D1-F80BAADC45A5}" type="sibTrans" cxnId="{FA1F51D2-ABC6-49B7-B0F5-633E2C40CF22}">
      <dgm:prSet/>
      <dgm:spPr/>
      <dgm:t>
        <a:bodyPr/>
        <a:lstStyle/>
        <a:p>
          <a:endParaRPr lang="ru-RU" sz="3600" b="1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9B633CA-37E0-4A12-AE80-827E16B3BF17}">
      <dgm:prSet custT="1"/>
      <dgm:spPr>
        <a:solidFill>
          <a:schemeClr val="bg1">
            <a:lumMod val="85000"/>
          </a:schemeClr>
        </a:solidFill>
      </dgm:spPr>
      <dgm:t>
        <a:bodyPr/>
        <a:lstStyle/>
        <a:p>
          <a:pPr rtl="0"/>
          <a:r>
            <a:rPr lang="ru-RU" sz="12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Информационные технологии</a:t>
          </a:r>
          <a:endParaRPr lang="ru-RU" sz="1200" b="1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3525285-0269-4B8A-A95C-4CE160AEDFD8}" type="parTrans" cxnId="{4330D565-4779-48B4-958B-BACDF38126C8}">
      <dgm:prSet/>
      <dgm:spPr/>
      <dgm:t>
        <a:bodyPr/>
        <a:lstStyle/>
        <a:p>
          <a:endParaRPr lang="ru-RU" sz="3600" b="1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EFCFCE6-EE5C-43F5-9940-F704DDD87CD3}" type="sibTrans" cxnId="{4330D565-4779-48B4-958B-BACDF38126C8}">
      <dgm:prSet/>
      <dgm:spPr/>
      <dgm:t>
        <a:bodyPr/>
        <a:lstStyle/>
        <a:p>
          <a:endParaRPr lang="ru-RU" sz="3600" b="1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9B4623F-117C-49DC-9E45-6322AB71000C}">
      <dgm:prSet custT="1"/>
      <dgm:spPr>
        <a:solidFill>
          <a:schemeClr val="bg1">
            <a:lumMod val="85000"/>
          </a:schemeClr>
        </a:solidFill>
      </dgm:spPr>
      <dgm:t>
        <a:bodyPr/>
        <a:lstStyle/>
        <a:p>
          <a:pPr rtl="0"/>
          <a:r>
            <a:rPr lang="ru-RU" sz="12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Бытовые услуги</a:t>
          </a:r>
          <a:endParaRPr lang="ru-RU" sz="1200" b="1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B25C37C-4A41-43A8-B622-5D5A48392EDE}" type="parTrans" cxnId="{9046ACA7-3C92-400A-8016-97D9B55FC030}">
      <dgm:prSet/>
      <dgm:spPr/>
      <dgm:t>
        <a:bodyPr/>
        <a:lstStyle/>
        <a:p>
          <a:endParaRPr lang="ru-RU" sz="36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184B523-EF36-415F-BB8F-A686BB505613}" type="sibTrans" cxnId="{9046ACA7-3C92-400A-8016-97D9B55FC030}">
      <dgm:prSet/>
      <dgm:spPr/>
      <dgm:t>
        <a:bodyPr/>
        <a:lstStyle/>
        <a:p>
          <a:endParaRPr lang="ru-RU" sz="36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FAD1240-1C64-42D0-8526-7FDC608CB8FF}" type="pres">
      <dgm:prSet presAssocID="{ED7FB896-6074-4512-8B28-505ADE9F69FE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56973299-74D4-4FCE-9FB8-7E7B754513B0}" type="pres">
      <dgm:prSet presAssocID="{97A86850-C834-4956-939A-195E227B16D2}" presName="node" presStyleLbl="node1" presStyleIdx="0" presStyleCnt="12" custScaleY="6945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D023CC4-333E-4B79-B90C-67B671F9B45E}" type="pres">
      <dgm:prSet presAssocID="{A70BE7A4-375C-464B-9DDD-442A548D3FE3}" presName="sibTrans" presStyleCnt="0"/>
      <dgm:spPr/>
      <dgm:t>
        <a:bodyPr/>
        <a:lstStyle/>
        <a:p>
          <a:endParaRPr lang="ru-RU"/>
        </a:p>
      </dgm:t>
    </dgm:pt>
    <dgm:pt modelId="{056D2196-E6C5-484E-A84F-91268542879F}" type="pres">
      <dgm:prSet presAssocID="{2456EAAA-89DE-4705-9F48-D8D9304E184E}" presName="node" presStyleLbl="node1" presStyleIdx="1" presStyleCnt="12" custScaleY="6945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FD68EDB-530E-41AE-BB36-E9E9BADF7451}" type="pres">
      <dgm:prSet presAssocID="{D7A6E051-88B6-465E-B329-BED825B9E8A2}" presName="sibTrans" presStyleCnt="0"/>
      <dgm:spPr/>
      <dgm:t>
        <a:bodyPr/>
        <a:lstStyle/>
        <a:p>
          <a:endParaRPr lang="ru-RU"/>
        </a:p>
      </dgm:t>
    </dgm:pt>
    <dgm:pt modelId="{FD27D81E-2B67-447E-BC66-BC01CEFF4046}" type="pres">
      <dgm:prSet presAssocID="{E4F62552-C3D6-4D7A-A22A-B2373AC8ECCE}" presName="node" presStyleLbl="node1" presStyleIdx="2" presStyleCnt="12" custScaleY="6945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204F9C8-41CF-4043-8D28-45CF9DDDF6F5}" type="pres">
      <dgm:prSet presAssocID="{7BBA3A15-8505-4879-BA12-C39C80CB7322}" presName="sibTrans" presStyleCnt="0"/>
      <dgm:spPr/>
      <dgm:t>
        <a:bodyPr/>
        <a:lstStyle/>
        <a:p>
          <a:endParaRPr lang="ru-RU"/>
        </a:p>
      </dgm:t>
    </dgm:pt>
    <dgm:pt modelId="{B8F97E0F-4562-48E1-B970-87ED58ADF125}" type="pres">
      <dgm:prSet presAssocID="{5B9EE55B-3A4C-4A0E-AFAB-923CF8800E66}" presName="node" presStyleLbl="node1" presStyleIdx="3" presStyleCnt="12" custScaleY="6945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3EC57EC-8904-4AF4-A2D0-F9E5AFC551DE}" type="pres">
      <dgm:prSet presAssocID="{7A4186BB-09DC-4B8D-803E-1DDACB4BB651}" presName="sibTrans" presStyleCnt="0"/>
      <dgm:spPr/>
      <dgm:t>
        <a:bodyPr/>
        <a:lstStyle/>
        <a:p>
          <a:endParaRPr lang="ru-RU"/>
        </a:p>
      </dgm:t>
    </dgm:pt>
    <dgm:pt modelId="{835599D0-807C-44A6-B9F8-D7281C912811}" type="pres">
      <dgm:prSet presAssocID="{83F31492-6FE2-4B35-B1B9-0DCF768C0EBF}" presName="node" presStyleLbl="node1" presStyleIdx="4" presStyleCnt="12" custScaleY="6416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09C2ED8-2325-4D66-912B-0FAC6F974080}" type="pres">
      <dgm:prSet presAssocID="{E9C4AC89-6FD5-42DD-9C61-0FE2FADF1543}" presName="sibTrans" presStyleCnt="0"/>
      <dgm:spPr/>
      <dgm:t>
        <a:bodyPr/>
        <a:lstStyle/>
        <a:p>
          <a:endParaRPr lang="ru-RU"/>
        </a:p>
      </dgm:t>
    </dgm:pt>
    <dgm:pt modelId="{24EB1452-56BE-44D4-8DC5-58B656C85368}" type="pres">
      <dgm:prSet presAssocID="{6803BF3B-86F6-4D31-B1A1-D3934B583C77}" presName="node" presStyleLbl="node1" presStyleIdx="5" presStyleCnt="12" custScaleY="6416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42BAFBC-4254-40E7-BD07-BFF333CE6CB6}" type="pres">
      <dgm:prSet presAssocID="{F40A27A1-64AA-4CBF-B90D-3E05241A9CC8}" presName="sibTrans" presStyleCnt="0"/>
      <dgm:spPr/>
      <dgm:t>
        <a:bodyPr/>
        <a:lstStyle/>
        <a:p>
          <a:endParaRPr lang="ru-RU"/>
        </a:p>
      </dgm:t>
    </dgm:pt>
    <dgm:pt modelId="{91C32A9F-C5F0-4E04-9CAD-E3D90CAB2AFE}" type="pres">
      <dgm:prSet presAssocID="{534965BB-CB39-4F19-9ED1-7A53661387E5}" presName="node" presStyleLbl="node1" presStyleIdx="6" presStyleCnt="12" custScaleY="6416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3988116-7C05-406D-9DD1-288ACEB4F594}" type="pres">
      <dgm:prSet presAssocID="{6330CCA4-0AFF-40B4-A265-AACE431EC989}" presName="sibTrans" presStyleCnt="0"/>
      <dgm:spPr/>
      <dgm:t>
        <a:bodyPr/>
        <a:lstStyle/>
        <a:p>
          <a:endParaRPr lang="ru-RU"/>
        </a:p>
      </dgm:t>
    </dgm:pt>
    <dgm:pt modelId="{A0D16FE9-C5E7-4281-94A9-3439E6770706}" type="pres">
      <dgm:prSet presAssocID="{B7E9BF27-7CCD-4E7B-8234-0296522A2AB5}" presName="node" presStyleLbl="node1" presStyleIdx="7" presStyleCnt="12" custScaleY="6416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9FCCBBA-8C01-4358-BA14-2ADDBFE03884}" type="pres">
      <dgm:prSet presAssocID="{822BCC41-1E48-4045-9856-BD06AF316146}" presName="sibTrans" presStyleCnt="0"/>
      <dgm:spPr/>
      <dgm:t>
        <a:bodyPr/>
        <a:lstStyle/>
        <a:p>
          <a:endParaRPr lang="ru-RU"/>
        </a:p>
      </dgm:t>
    </dgm:pt>
    <dgm:pt modelId="{0E7880E7-F2FF-4D21-B7CD-28080B89B895}" type="pres">
      <dgm:prSet presAssocID="{8FC19C04-2180-49EA-BAAA-DC2DDF0972EC}" presName="node" presStyleLbl="node1" presStyleIdx="8" presStyleCnt="12" custScaleY="60666" custLinFactNeighborX="-10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1A761C1-C0CD-4EDA-8F4B-584F92316875}" type="pres">
      <dgm:prSet presAssocID="{9CBEDF06-FFCD-4289-A835-FBF3C868B133}" presName="sibTrans" presStyleCnt="0"/>
      <dgm:spPr/>
      <dgm:t>
        <a:bodyPr/>
        <a:lstStyle/>
        <a:p>
          <a:endParaRPr lang="ru-RU"/>
        </a:p>
      </dgm:t>
    </dgm:pt>
    <dgm:pt modelId="{9E5E0F63-D08A-446F-850A-0A09B2F370BB}" type="pres">
      <dgm:prSet presAssocID="{F3D2F2EF-FAFD-40EC-8478-B0B2E60452FE}" presName="node" presStyleLbl="node1" presStyleIdx="9" presStyleCnt="12" custScaleY="60666" custLinFactNeighborX="-10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70CB7DC-0A4A-4C71-A62B-EB4E2A25B898}" type="pres">
      <dgm:prSet presAssocID="{390FB6C1-F85D-4925-A3D1-F80BAADC45A5}" presName="sibTrans" presStyleCnt="0"/>
      <dgm:spPr/>
      <dgm:t>
        <a:bodyPr/>
        <a:lstStyle/>
        <a:p>
          <a:endParaRPr lang="ru-RU"/>
        </a:p>
      </dgm:t>
    </dgm:pt>
    <dgm:pt modelId="{0ECD93E2-D74B-42C0-9E0B-B23A79F504C2}" type="pres">
      <dgm:prSet presAssocID="{F9B633CA-37E0-4A12-AE80-827E16B3BF17}" presName="node" presStyleLbl="node1" presStyleIdx="10" presStyleCnt="12" custScaleY="60666" custLinFactNeighborX="-10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6A3041A-EBFA-48E0-A7DC-EAAF1FE70EE5}" type="pres">
      <dgm:prSet presAssocID="{0EFCFCE6-EE5C-43F5-9940-F704DDD87CD3}" presName="sibTrans" presStyleCnt="0"/>
      <dgm:spPr/>
      <dgm:t>
        <a:bodyPr/>
        <a:lstStyle/>
        <a:p>
          <a:endParaRPr lang="ru-RU"/>
        </a:p>
      </dgm:t>
    </dgm:pt>
    <dgm:pt modelId="{0D88D2B7-8B64-4167-A34D-72D5C8A98D61}" type="pres">
      <dgm:prSet presAssocID="{A9B4623F-117C-49DC-9E45-6322AB71000C}" presName="node" presStyleLbl="node1" presStyleIdx="11" presStyleCnt="12" custScaleY="6066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39B54D9-D812-4BAB-B5B2-4C30034241D6}" type="presOf" srcId="{6803BF3B-86F6-4D31-B1A1-D3934B583C77}" destId="{24EB1452-56BE-44D4-8DC5-58B656C85368}" srcOrd="0" destOrd="0" presId="urn:microsoft.com/office/officeart/2005/8/layout/default#2"/>
    <dgm:cxn modelId="{1BEAA8EF-DF7B-4A52-863C-9FC9AF8D1654}" srcId="{ED7FB896-6074-4512-8B28-505ADE9F69FE}" destId="{534965BB-CB39-4F19-9ED1-7A53661387E5}" srcOrd="6" destOrd="0" parTransId="{350A3B78-CF04-4550-A4D6-E3CCEBF5728E}" sibTransId="{6330CCA4-0AFF-40B4-A265-AACE431EC989}"/>
    <dgm:cxn modelId="{8D6D69C1-21FF-4090-BE81-D4E133B039ED}" srcId="{ED7FB896-6074-4512-8B28-505ADE9F69FE}" destId="{83F31492-6FE2-4B35-B1B9-0DCF768C0EBF}" srcOrd="4" destOrd="0" parTransId="{A142DA27-97AB-4941-8878-7EDCEF255BD7}" sibTransId="{E9C4AC89-6FD5-42DD-9C61-0FE2FADF1543}"/>
    <dgm:cxn modelId="{9046ACA7-3C92-400A-8016-97D9B55FC030}" srcId="{ED7FB896-6074-4512-8B28-505ADE9F69FE}" destId="{A9B4623F-117C-49DC-9E45-6322AB71000C}" srcOrd="11" destOrd="0" parTransId="{EB25C37C-4A41-43A8-B622-5D5A48392EDE}" sibTransId="{2184B523-EF36-415F-BB8F-A686BB505613}"/>
    <dgm:cxn modelId="{DAA18416-11F6-4CB1-A4A6-B03DE2BA86C5}" type="presOf" srcId="{2456EAAA-89DE-4705-9F48-D8D9304E184E}" destId="{056D2196-E6C5-484E-A84F-91268542879F}" srcOrd="0" destOrd="0" presId="urn:microsoft.com/office/officeart/2005/8/layout/default#2"/>
    <dgm:cxn modelId="{589BF17C-4722-4832-BAB6-95DCC565B231}" type="presOf" srcId="{A9B4623F-117C-49DC-9E45-6322AB71000C}" destId="{0D88D2B7-8B64-4167-A34D-72D5C8A98D61}" srcOrd="0" destOrd="0" presId="urn:microsoft.com/office/officeart/2005/8/layout/default#2"/>
    <dgm:cxn modelId="{4330D565-4779-48B4-958B-BACDF38126C8}" srcId="{ED7FB896-6074-4512-8B28-505ADE9F69FE}" destId="{F9B633CA-37E0-4A12-AE80-827E16B3BF17}" srcOrd="10" destOrd="0" parTransId="{A3525285-0269-4B8A-A95C-4CE160AEDFD8}" sibTransId="{0EFCFCE6-EE5C-43F5-9940-F704DDD87CD3}"/>
    <dgm:cxn modelId="{0F93C6C7-7939-4C45-B9FB-EC035DFF00E4}" type="presOf" srcId="{F9B633CA-37E0-4A12-AE80-827E16B3BF17}" destId="{0ECD93E2-D74B-42C0-9E0B-B23A79F504C2}" srcOrd="0" destOrd="0" presId="urn:microsoft.com/office/officeart/2005/8/layout/default#2"/>
    <dgm:cxn modelId="{9644F82D-FC94-4049-80A7-7C9AF1165236}" type="presOf" srcId="{E4F62552-C3D6-4D7A-A22A-B2373AC8ECCE}" destId="{FD27D81E-2B67-447E-BC66-BC01CEFF4046}" srcOrd="0" destOrd="0" presId="urn:microsoft.com/office/officeart/2005/8/layout/default#2"/>
    <dgm:cxn modelId="{E813B0A5-8B0E-415F-8E4B-3DB58ADCDF7E}" type="presOf" srcId="{ED7FB896-6074-4512-8B28-505ADE9F69FE}" destId="{EFAD1240-1C64-42D0-8526-7FDC608CB8FF}" srcOrd="0" destOrd="0" presId="urn:microsoft.com/office/officeart/2005/8/layout/default#2"/>
    <dgm:cxn modelId="{CD3877AB-2391-42FE-818B-3EEA2231B2EC}" type="presOf" srcId="{F3D2F2EF-FAFD-40EC-8478-B0B2E60452FE}" destId="{9E5E0F63-D08A-446F-850A-0A09B2F370BB}" srcOrd="0" destOrd="0" presId="urn:microsoft.com/office/officeart/2005/8/layout/default#2"/>
    <dgm:cxn modelId="{11692B8A-B191-4865-8946-7385F85B92E1}" type="presOf" srcId="{8FC19C04-2180-49EA-BAAA-DC2DDF0972EC}" destId="{0E7880E7-F2FF-4D21-B7CD-28080B89B895}" srcOrd="0" destOrd="0" presId="urn:microsoft.com/office/officeart/2005/8/layout/default#2"/>
    <dgm:cxn modelId="{3117E576-3945-4E0B-9D90-35F35EB725C0}" type="presOf" srcId="{5B9EE55B-3A4C-4A0E-AFAB-923CF8800E66}" destId="{B8F97E0F-4562-48E1-B970-87ED58ADF125}" srcOrd="0" destOrd="0" presId="urn:microsoft.com/office/officeart/2005/8/layout/default#2"/>
    <dgm:cxn modelId="{7AE1BD33-83C1-4B4D-A838-84BA6049C03A}" srcId="{ED7FB896-6074-4512-8B28-505ADE9F69FE}" destId="{E4F62552-C3D6-4D7A-A22A-B2373AC8ECCE}" srcOrd="2" destOrd="0" parTransId="{BB340211-A089-4556-9AC7-2425DA6D4C11}" sibTransId="{7BBA3A15-8505-4879-BA12-C39C80CB7322}"/>
    <dgm:cxn modelId="{CEB887FB-31A7-427F-8B0D-40EF6AC41A7E}" srcId="{ED7FB896-6074-4512-8B28-505ADE9F69FE}" destId="{B7E9BF27-7CCD-4E7B-8234-0296522A2AB5}" srcOrd="7" destOrd="0" parTransId="{340A25CA-8FC8-4A9B-B5A5-0955FE5BF4C6}" sibTransId="{822BCC41-1E48-4045-9856-BD06AF316146}"/>
    <dgm:cxn modelId="{3D0D92B7-1EF9-46B2-A0A4-FC3A2B795E1D}" type="presOf" srcId="{97A86850-C834-4956-939A-195E227B16D2}" destId="{56973299-74D4-4FCE-9FB8-7E7B754513B0}" srcOrd="0" destOrd="0" presId="urn:microsoft.com/office/officeart/2005/8/layout/default#2"/>
    <dgm:cxn modelId="{BE91CB11-F9AE-4500-81B5-F3BF93CFCE4E}" type="presOf" srcId="{B7E9BF27-7CCD-4E7B-8234-0296522A2AB5}" destId="{A0D16FE9-C5E7-4281-94A9-3439E6770706}" srcOrd="0" destOrd="0" presId="urn:microsoft.com/office/officeart/2005/8/layout/default#2"/>
    <dgm:cxn modelId="{8F4EAFAC-BD4B-4114-89B1-F7E46192CB1A}" type="presOf" srcId="{534965BB-CB39-4F19-9ED1-7A53661387E5}" destId="{91C32A9F-C5F0-4E04-9CAD-E3D90CAB2AFE}" srcOrd="0" destOrd="0" presId="urn:microsoft.com/office/officeart/2005/8/layout/default#2"/>
    <dgm:cxn modelId="{FA1F51D2-ABC6-49B7-B0F5-633E2C40CF22}" srcId="{ED7FB896-6074-4512-8B28-505ADE9F69FE}" destId="{F3D2F2EF-FAFD-40EC-8478-B0B2E60452FE}" srcOrd="9" destOrd="0" parTransId="{0B75B86D-6AB3-4333-8346-AC0E0BACC694}" sibTransId="{390FB6C1-F85D-4925-A3D1-F80BAADC45A5}"/>
    <dgm:cxn modelId="{EF4E48AD-971E-44A9-9334-05ABA4D5E2E7}" srcId="{ED7FB896-6074-4512-8B28-505ADE9F69FE}" destId="{2456EAAA-89DE-4705-9F48-D8D9304E184E}" srcOrd="1" destOrd="0" parTransId="{ED3E8518-E775-4B60-B11E-404ACDD3D6F6}" sibTransId="{D7A6E051-88B6-465E-B329-BED825B9E8A2}"/>
    <dgm:cxn modelId="{EBD92478-C4E9-4ABB-AF96-847C51605CF1}" srcId="{ED7FB896-6074-4512-8B28-505ADE9F69FE}" destId="{8FC19C04-2180-49EA-BAAA-DC2DDF0972EC}" srcOrd="8" destOrd="0" parTransId="{24B88AF1-7F39-4532-8F95-9D0C1CA6D4BC}" sibTransId="{9CBEDF06-FFCD-4289-A835-FBF3C868B133}"/>
    <dgm:cxn modelId="{52BD6B42-F697-4D4C-A102-65AA999FEAE6}" srcId="{ED7FB896-6074-4512-8B28-505ADE9F69FE}" destId="{6803BF3B-86F6-4D31-B1A1-D3934B583C77}" srcOrd="5" destOrd="0" parTransId="{EB18F7A3-F307-46FC-9C06-F116597EBCB0}" sibTransId="{F40A27A1-64AA-4CBF-B90D-3E05241A9CC8}"/>
    <dgm:cxn modelId="{7AAC18ED-2ACA-4EBC-B173-42C1167F0A04}" type="presOf" srcId="{83F31492-6FE2-4B35-B1B9-0DCF768C0EBF}" destId="{835599D0-807C-44A6-B9F8-D7281C912811}" srcOrd="0" destOrd="0" presId="urn:microsoft.com/office/officeart/2005/8/layout/default#2"/>
    <dgm:cxn modelId="{E415B3A4-3357-4F7D-B001-1B409D34924A}" srcId="{ED7FB896-6074-4512-8B28-505ADE9F69FE}" destId="{5B9EE55B-3A4C-4A0E-AFAB-923CF8800E66}" srcOrd="3" destOrd="0" parTransId="{AD90605F-1C5B-4763-AA2E-2D9253962C1A}" sibTransId="{7A4186BB-09DC-4B8D-803E-1DDACB4BB651}"/>
    <dgm:cxn modelId="{79C7390A-0BB4-4C5C-9D2D-A9329CB68FA3}" srcId="{ED7FB896-6074-4512-8B28-505ADE9F69FE}" destId="{97A86850-C834-4956-939A-195E227B16D2}" srcOrd="0" destOrd="0" parTransId="{122AD9A5-D74D-43CA-A78F-C9489C35733E}" sibTransId="{A70BE7A4-375C-464B-9DDD-442A548D3FE3}"/>
    <dgm:cxn modelId="{CD11046B-6786-4029-8580-16921E7D0B82}" type="presParOf" srcId="{EFAD1240-1C64-42D0-8526-7FDC608CB8FF}" destId="{56973299-74D4-4FCE-9FB8-7E7B754513B0}" srcOrd="0" destOrd="0" presId="urn:microsoft.com/office/officeart/2005/8/layout/default#2"/>
    <dgm:cxn modelId="{A7E6DE34-94D0-4EED-91DE-64100B5758EA}" type="presParOf" srcId="{EFAD1240-1C64-42D0-8526-7FDC608CB8FF}" destId="{6D023CC4-333E-4B79-B90C-67B671F9B45E}" srcOrd="1" destOrd="0" presId="urn:microsoft.com/office/officeart/2005/8/layout/default#2"/>
    <dgm:cxn modelId="{EF7D8087-5166-46CD-92F2-F4D8D0090947}" type="presParOf" srcId="{EFAD1240-1C64-42D0-8526-7FDC608CB8FF}" destId="{056D2196-E6C5-484E-A84F-91268542879F}" srcOrd="2" destOrd="0" presId="urn:microsoft.com/office/officeart/2005/8/layout/default#2"/>
    <dgm:cxn modelId="{E783FDC5-47F6-4112-9BF9-87551CDED294}" type="presParOf" srcId="{EFAD1240-1C64-42D0-8526-7FDC608CB8FF}" destId="{0FD68EDB-530E-41AE-BB36-E9E9BADF7451}" srcOrd="3" destOrd="0" presId="urn:microsoft.com/office/officeart/2005/8/layout/default#2"/>
    <dgm:cxn modelId="{69EBA6A6-AEEA-48A4-9474-312657DB3447}" type="presParOf" srcId="{EFAD1240-1C64-42D0-8526-7FDC608CB8FF}" destId="{FD27D81E-2B67-447E-BC66-BC01CEFF4046}" srcOrd="4" destOrd="0" presId="urn:microsoft.com/office/officeart/2005/8/layout/default#2"/>
    <dgm:cxn modelId="{1CE0D85A-30F4-4B90-A505-0A8DE53EE224}" type="presParOf" srcId="{EFAD1240-1C64-42D0-8526-7FDC608CB8FF}" destId="{8204F9C8-41CF-4043-8D28-45CF9DDDF6F5}" srcOrd="5" destOrd="0" presId="urn:microsoft.com/office/officeart/2005/8/layout/default#2"/>
    <dgm:cxn modelId="{B8FFCEA3-4ADA-407E-A8B7-227CCEA6ADE8}" type="presParOf" srcId="{EFAD1240-1C64-42D0-8526-7FDC608CB8FF}" destId="{B8F97E0F-4562-48E1-B970-87ED58ADF125}" srcOrd="6" destOrd="0" presId="urn:microsoft.com/office/officeart/2005/8/layout/default#2"/>
    <dgm:cxn modelId="{28B159B4-C4AE-4391-8303-A2B1482A95DC}" type="presParOf" srcId="{EFAD1240-1C64-42D0-8526-7FDC608CB8FF}" destId="{83EC57EC-8904-4AF4-A2D0-F9E5AFC551DE}" srcOrd="7" destOrd="0" presId="urn:microsoft.com/office/officeart/2005/8/layout/default#2"/>
    <dgm:cxn modelId="{8A281D0E-A0EA-43A3-83BC-7CF55B35BA47}" type="presParOf" srcId="{EFAD1240-1C64-42D0-8526-7FDC608CB8FF}" destId="{835599D0-807C-44A6-B9F8-D7281C912811}" srcOrd="8" destOrd="0" presId="urn:microsoft.com/office/officeart/2005/8/layout/default#2"/>
    <dgm:cxn modelId="{A7334E7B-8AD3-43AC-A826-CD595CDA77A6}" type="presParOf" srcId="{EFAD1240-1C64-42D0-8526-7FDC608CB8FF}" destId="{C09C2ED8-2325-4D66-912B-0FAC6F974080}" srcOrd="9" destOrd="0" presId="urn:microsoft.com/office/officeart/2005/8/layout/default#2"/>
    <dgm:cxn modelId="{4BFB593B-32FE-4185-9156-3D260D0FBD65}" type="presParOf" srcId="{EFAD1240-1C64-42D0-8526-7FDC608CB8FF}" destId="{24EB1452-56BE-44D4-8DC5-58B656C85368}" srcOrd="10" destOrd="0" presId="urn:microsoft.com/office/officeart/2005/8/layout/default#2"/>
    <dgm:cxn modelId="{BB2A7AD3-DC27-47AA-AD85-AB17ECF214EC}" type="presParOf" srcId="{EFAD1240-1C64-42D0-8526-7FDC608CB8FF}" destId="{B42BAFBC-4254-40E7-BD07-BFF333CE6CB6}" srcOrd="11" destOrd="0" presId="urn:microsoft.com/office/officeart/2005/8/layout/default#2"/>
    <dgm:cxn modelId="{7A471FDF-D994-43B2-B51A-68A5324C42B8}" type="presParOf" srcId="{EFAD1240-1C64-42D0-8526-7FDC608CB8FF}" destId="{91C32A9F-C5F0-4E04-9CAD-E3D90CAB2AFE}" srcOrd="12" destOrd="0" presId="urn:microsoft.com/office/officeart/2005/8/layout/default#2"/>
    <dgm:cxn modelId="{7DACF4C5-A448-4D7F-9938-2CB326DC9AC4}" type="presParOf" srcId="{EFAD1240-1C64-42D0-8526-7FDC608CB8FF}" destId="{43988116-7C05-406D-9DD1-288ACEB4F594}" srcOrd="13" destOrd="0" presId="urn:microsoft.com/office/officeart/2005/8/layout/default#2"/>
    <dgm:cxn modelId="{FCDBED3A-CDD8-4F31-9336-2EA57E2CAA71}" type="presParOf" srcId="{EFAD1240-1C64-42D0-8526-7FDC608CB8FF}" destId="{A0D16FE9-C5E7-4281-94A9-3439E6770706}" srcOrd="14" destOrd="0" presId="urn:microsoft.com/office/officeart/2005/8/layout/default#2"/>
    <dgm:cxn modelId="{F910A3A3-EB82-4603-B23C-5E8EF725E035}" type="presParOf" srcId="{EFAD1240-1C64-42D0-8526-7FDC608CB8FF}" destId="{59FCCBBA-8C01-4358-BA14-2ADDBFE03884}" srcOrd="15" destOrd="0" presId="urn:microsoft.com/office/officeart/2005/8/layout/default#2"/>
    <dgm:cxn modelId="{7FD5BC44-A930-49A8-A7B7-F568B8DB0B36}" type="presParOf" srcId="{EFAD1240-1C64-42D0-8526-7FDC608CB8FF}" destId="{0E7880E7-F2FF-4D21-B7CD-28080B89B895}" srcOrd="16" destOrd="0" presId="urn:microsoft.com/office/officeart/2005/8/layout/default#2"/>
    <dgm:cxn modelId="{7025D590-462D-465C-94B5-7AEA0C641755}" type="presParOf" srcId="{EFAD1240-1C64-42D0-8526-7FDC608CB8FF}" destId="{51A761C1-C0CD-4EDA-8F4B-584F92316875}" srcOrd="17" destOrd="0" presId="urn:microsoft.com/office/officeart/2005/8/layout/default#2"/>
    <dgm:cxn modelId="{F48A4B60-2F9C-4B62-A183-0EFD8F5D93A2}" type="presParOf" srcId="{EFAD1240-1C64-42D0-8526-7FDC608CB8FF}" destId="{9E5E0F63-D08A-446F-850A-0A09B2F370BB}" srcOrd="18" destOrd="0" presId="urn:microsoft.com/office/officeart/2005/8/layout/default#2"/>
    <dgm:cxn modelId="{1130C090-4951-4F7F-8289-B100C3550DC6}" type="presParOf" srcId="{EFAD1240-1C64-42D0-8526-7FDC608CB8FF}" destId="{370CB7DC-0A4A-4C71-A62B-EB4E2A25B898}" srcOrd="19" destOrd="0" presId="urn:microsoft.com/office/officeart/2005/8/layout/default#2"/>
    <dgm:cxn modelId="{F50A28C3-270B-4CA6-AD1B-7E2203CC3BDF}" type="presParOf" srcId="{EFAD1240-1C64-42D0-8526-7FDC608CB8FF}" destId="{0ECD93E2-D74B-42C0-9E0B-B23A79F504C2}" srcOrd="20" destOrd="0" presId="urn:microsoft.com/office/officeart/2005/8/layout/default#2"/>
    <dgm:cxn modelId="{05771013-A6F8-4177-A460-CC75AD99C414}" type="presParOf" srcId="{EFAD1240-1C64-42D0-8526-7FDC608CB8FF}" destId="{06A3041A-EBFA-48E0-A7DC-EAAF1FE70EE5}" srcOrd="21" destOrd="0" presId="urn:microsoft.com/office/officeart/2005/8/layout/default#2"/>
    <dgm:cxn modelId="{3F8B14C0-0D7C-4276-B94B-31C823DF5BF7}" type="presParOf" srcId="{EFAD1240-1C64-42D0-8526-7FDC608CB8FF}" destId="{0D88D2B7-8B64-4167-A34D-72D5C8A98D61}" srcOrd="22" destOrd="0" presId="urn:microsoft.com/office/officeart/2005/8/layout/default#2"/>
  </dgm:cxnLst>
  <dgm:bg>
    <a:noFill/>
  </dgm:bg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0E9EBF-8D82-4906-9AD7-2F9E20AA81F1}">
      <dsp:nvSpPr>
        <dsp:cNvPr id="0" name=""/>
        <dsp:cNvSpPr/>
      </dsp:nvSpPr>
      <dsp:spPr>
        <a:xfrm>
          <a:off x="588672" y="0"/>
          <a:ext cx="5925515" cy="1872207"/>
        </a:xfrm>
        <a:prstGeom prst="rightArrow">
          <a:avLst/>
        </a:prstGeom>
        <a:solidFill>
          <a:schemeClr val="bg1">
            <a:lumMod val="8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9E07B90-B9FE-49FE-BA40-ABC6EFA26BCB}">
      <dsp:nvSpPr>
        <dsp:cNvPr id="0" name=""/>
        <dsp:cNvSpPr/>
      </dsp:nvSpPr>
      <dsp:spPr>
        <a:xfrm>
          <a:off x="2768" y="561662"/>
          <a:ext cx="2501762" cy="748882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rgbClr val="C00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Заседания отраслевых групп Координационного совета под председательством заместителя мэра</a:t>
          </a:r>
          <a:endParaRPr lang="ru-RU" sz="12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9325" y="598219"/>
        <a:ext cx="2428648" cy="675768"/>
      </dsp:txXfrm>
    </dsp:sp>
    <dsp:sp modelId="{C46F949B-74F8-4485-88A6-C303507E96EC}">
      <dsp:nvSpPr>
        <dsp:cNvPr id="0" name=""/>
        <dsp:cNvSpPr/>
      </dsp:nvSpPr>
      <dsp:spPr>
        <a:xfrm>
          <a:off x="2780588" y="561662"/>
          <a:ext cx="2501762" cy="748882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rgbClr val="C00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smtClean="0">
              <a:latin typeface="Arial" panose="020B0604020202020204" pitchFamily="34" charset="0"/>
              <a:cs typeface="Arial" panose="020B0604020202020204" pitchFamily="34" charset="0"/>
            </a:rPr>
            <a:t>Заседания Координационного совета под председательством мэра</a:t>
          </a:r>
          <a:endParaRPr lang="ru-RU" sz="12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817145" y="598219"/>
        <a:ext cx="2428648" cy="675768"/>
      </dsp:txXfrm>
    </dsp:sp>
    <dsp:sp modelId="{9AC8EF71-EB29-4F1C-BF05-F1BBF634DB46}">
      <dsp:nvSpPr>
        <dsp:cNvPr id="0" name=""/>
        <dsp:cNvSpPr/>
      </dsp:nvSpPr>
      <dsp:spPr>
        <a:xfrm>
          <a:off x="5558407" y="561662"/>
          <a:ext cx="1410018" cy="748882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rgbClr val="C00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smtClean="0">
              <a:latin typeface="Arial" panose="020B0604020202020204" pitchFamily="34" charset="0"/>
              <a:cs typeface="Arial" panose="020B0604020202020204" pitchFamily="34" charset="0"/>
            </a:rPr>
            <a:t>Исполнение решения</a:t>
          </a:r>
          <a:endParaRPr lang="ru-RU" sz="12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594964" y="598219"/>
        <a:ext cx="1336904" cy="67576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973299-74D4-4FCE-9FB8-7E7B754513B0}">
      <dsp:nvSpPr>
        <dsp:cNvPr id="0" name=""/>
        <dsp:cNvSpPr/>
      </dsp:nvSpPr>
      <dsp:spPr>
        <a:xfrm>
          <a:off x="2046" y="331627"/>
          <a:ext cx="1623414" cy="676486"/>
        </a:xfrm>
        <a:prstGeom prst="rect">
          <a:avLst/>
        </a:prstGeom>
        <a:solidFill>
          <a:schemeClr val="bg1">
            <a:lumMod val="6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Торговля</a:t>
          </a:r>
          <a:endParaRPr lang="ru-RU" sz="1200" b="1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046" y="331627"/>
        <a:ext cx="1623414" cy="676486"/>
      </dsp:txXfrm>
    </dsp:sp>
    <dsp:sp modelId="{056D2196-E6C5-484E-A84F-91268542879F}">
      <dsp:nvSpPr>
        <dsp:cNvPr id="0" name=""/>
        <dsp:cNvSpPr/>
      </dsp:nvSpPr>
      <dsp:spPr>
        <a:xfrm>
          <a:off x="1787802" y="331627"/>
          <a:ext cx="1623414" cy="676486"/>
        </a:xfrm>
        <a:prstGeom prst="rect">
          <a:avLst/>
        </a:prstGeom>
        <a:solidFill>
          <a:schemeClr val="bg1">
            <a:lumMod val="6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Пищевое производство и общественное питание</a:t>
          </a:r>
          <a:endParaRPr lang="ru-RU" sz="1200" b="1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787802" y="331627"/>
        <a:ext cx="1623414" cy="676486"/>
      </dsp:txXfrm>
    </dsp:sp>
    <dsp:sp modelId="{FD27D81E-2B67-447E-BC66-BC01CEFF4046}">
      <dsp:nvSpPr>
        <dsp:cNvPr id="0" name=""/>
        <dsp:cNvSpPr/>
      </dsp:nvSpPr>
      <dsp:spPr>
        <a:xfrm>
          <a:off x="3573558" y="331627"/>
          <a:ext cx="1623414" cy="676486"/>
        </a:xfrm>
        <a:prstGeom prst="rect">
          <a:avLst/>
        </a:prstGeom>
        <a:solidFill>
          <a:schemeClr val="bg1">
            <a:lumMod val="6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Туризм</a:t>
          </a:r>
          <a:endParaRPr lang="ru-RU" sz="1200" b="1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573558" y="331627"/>
        <a:ext cx="1623414" cy="676486"/>
      </dsp:txXfrm>
    </dsp:sp>
    <dsp:sp modelId="{B8F97E0F-4562-48E1-B970-87ED58ADF125}">
      <dsp:nvSpPr>
        <dsp:cNvPr id="0" name=""/>
        <dsp:cNvSpPr/>
      </dsp:nvSpPr>
      <dsp:spPr>
        <a:xfrm>
          <a:off x="5359314" y="331627"/>
          <a:ext cx="1623414" cy="676486"/>
        </a:xfrm>
        <a:prstGeom prst="rect">
          <a:avLst/>
        </a:prstGeom>
        <a:solidFill>
          <a:schemeClr val="bg1">
            <a:lumMod val="6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Строительство</a:t>
          </a:r>
          <a:endParaRPr lang="ru-RU" sz="1200" b="1" kern="12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359314" y="331627"/>
        <a:ext cx="1623414" cy="676486"/>
      </dsp:txXfrm>
    </dsp:sp>
    <dsp:sp modelId="{835599D0-807C-44A6-B9F8-D7281C912811}">
      <dsp:nvSpPr>
        <dsp:cNvPr id="0" name=""/>
        <dsp:cNvSpPr/>
      </dsp:nvSpPr>
      <dsp:spPr>
        <a:xfrm>
          <a:off x="2046" y="1170455"/>
          <a:ext cx="1623414" cy="624978"/>
        </a:xfrm>
        <a:prstGeom prst="rect">
          <a:avLst/>
        </a:prstGeom>
        <a:solidFill>
          <a:schemeClr val="bg1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Производство</a:t>
          </a:r>
          <a:endParaRPr lang="ru-RU" sz="1200" b="1" kern="12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046" y="1170455"/>
        <a:ext cx="1623414" cy="624978"/>
      </dsp:txXfrm>
    </dsp:sp>
    <dsp:sp modelId="{24EB1452-56BE-44D4-8DC5-58B656C85368}">
      <dsp:nvSpPr>
        <dsp:cNvPr id="0" name=""/>
        <dsp:cNvSpPr/>
      </dsp:nvSpPr>
      <dsp:spPr>
        <a:xfrm>
          <a:off x="1787802" y="1170455"/>
          <a:ext cx="1623414" cy="624978"/>
        </a:xfrm>
        <a:prstGeom prst="rect">
          <a:avLst/>
        </a:prstGeom>
        <a:solidFill>
          <a:schemeClr val="bg1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Деревообработка</a:t>
          </a:r>
          <a:endParaRPr lang="ru-RU" sz="1200" b="1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787802" y="1170455"/>
        <a:ext cx="1623414" cy="624978"/>
      </dsp:txXfrm>
    </dsp:sp>
    <dsp:sp modelId="{91C32A9F-C5F0-4E04-9CAD-E3D90CAB2AFE}">
      <dsp:nvSpPr>
        <dsp:cNvPr id="0" name=""/>
        <dsp:cNvSpPr/>
      </dsp:nvSpPr>
      <dsp:spPr>
        <a:xfrm>
          <a:off x="3573558" y="1170455"/>
          <a:ext cx="1623414" cy="624978"/>
        </a:xfrm>
        <a:prstGeom prst="rect">
          <a:avLst/>
        </a:prstGeom>
        <a:solidFill>
          <a:schemeClr val="bg1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Образование</a:t>
          </a:r>
          <a:endParaRPr lang="ru-RU" sz="1200" b="1" kern="12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573558" y="1170455"/>
        <a:ext cx="1623414" cy="624978"/>
      </dsp:txXfrm>
    </dsp:sp>
    <dsp:sp modelId="{A0D16FE9-C5E7-4281-94A9-3439E6770706}">
      <dsp:nvSpPr>
        <dsp:cNvPr id="0" name=""/>
        <dsp:cNvSpPr/>
      </dsp:nvSpPr>
      <dsp:spPr>
        <a:xfrm>
          <a:off x="5359314" y="1170455"/>
          <a:ext cx="1623414" cy="624978"/>
        </a:xfrm>
        <a:prstGeom prst="rect">
          <a:avLst/>
        </a:prstGeom>
        <a:solidFill>
          <a:schemeClr val="bg1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Здравоохранение</a:t>
          </a:r>
          <a:endParaRPr lang="ru-RU" sz="1200" b="1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359314" y="1170455"/>
        <a:ext cx="1623414" cy="624978"/>
      </dsp:txXfrm>
    </dsp:sp>
    <dsp:sp modelId="{0E7880E7-F2FF-4D21-B7CD-28080B89B895}">
      <dsp:nvSpPr>
        <dsp:cNvPr id="0" name=""/>
        <dsp:cNvSpPr/>
      </dsp:nvSpPr>
      <dsp:spPr>
        <a:xfrm>
          <a:off x="341" y="1957775"/>
          <a:ext cx="1623414" cy="590916"/>
        </a:xfrm>
        <a:prstGeom prst="rect">
          <a:avLst/>
        </a:prstGeom>
        <a:solidFill>
          <a:schemeClr val="bg1">
            <a:lumMod val="8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Реклама </a:t>
          </a:r>
          <a:endParaRPr lang="ru-RU" sz="1200" b="1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41" y="1957775"/>
        <a:ext cx="1623414" cy="590916"/>
      </dsp:txXfrm>
    </dsp:sp>
    <dsp:sp modelId="{9E5E0F63-D08A-446F-850A-0A09B2F370BB}">
      <dsp:nvSpPr>
        <dsp:cNvPr id="0" name=""/>
        <dsp:cNvSpPr/>
      </dsp:nvSpPr>
      <dsp:spPr>
        <a:xfrm>
          <a:off x="1786097" y="1957775"/>
          <a:ext cx="1623414" cy="590916"/>
        </a:xfrm>
        <a:prstGeom prst="rect">
          <a:avLst/>
        </a:prstGeom>
        <a:solidFill>
          <a:schemeClr val="bg1">
            <a:lumMod val="8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ЖКХ</a:t>
          </a:r>
          <a:endParaRPr lang="ru-RU" sz="1200" b="1" kern="12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786097" y="1957775"/>
        <a:ext cx="1623414" cy="590916"/>
      </dsp:txXfrm>
    </dsp:sp>
    <dsp:sp modelId="{0ECD93E2-D74B-42C0-9E0B-B23A79F504C2}">
      <dsp:nvSpPr>
        <dsp:cNvPr id="0" name=""/>
        <dsp:cNvSpPr/>
      </dsp:nvSpPr>
      <dsp:spPr>
        <a:xfrm>
          <a:off x="3571853" y="1957775"/>
          <a:ext cx="1623414" cy="590916"/>
        </a:xfrm>
        <a:prstGeom prst="rect">
          <a:avLst/>
        </a:prstGeom>
        <a:solidFill>
          <a:schemeClr val="bg1">
            <a:lumMod val="8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Информационные технологии</a:t>
          </a:r>
          <a:endParaRPr lang="ru-RU" sz="1200" b="1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571853" y="1957775"/>
        <a:ext cx="1623414" cy="590916"/>
      </dsp:txXfrm>
    </dsp:sp>
    <dsp:sp modelId="{0D88D2B7-8B64-4167-A34D-72D5C8A98D61}">
      <dsp:nvSpPr>
        <dsp:cNvPr id="0" name=""/>
        <dsp:cNvSpPr/>
      </dsp:nvSpPr>
      <dsp:spPr>
        <a:xfrm>
          <a:off x="5359314" y="1957775"/>
          <a:ext cx="1623414" cy="590916"/>
        </a:xfrm>
        <a:prstGeom prst="rect">
          <a:avLst/>
        </a:prstGeom>
        <a:solidFill>
          <a:schemeClr val="bg1">
            <a:lumMod val="8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Бытовые услуги</a:t>
          </a:r>
          <a:endParaRPr lang="ru-RU" sz="1200" b="1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359314" y="1957775"/>
        <a:ext cx="1623414" cy="59091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#2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4814F1-FB4D-43DB-AFDF-284B7D8CB392}" type="datetimeFigureOut">
              <a:rPr lang="ru-RU" smtClean="0"/>
              <a:pPr/>
              <a:t>02.04.201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DFA8F4-FED4-4434-97D0-CD96EC1525B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242152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0F6C0BA2-66DC-4B7A-BD09-EF313AA2F4F7}" type="slidenum">
              <a:rPr lang="de-DE" altLang="ru-RU" smtClean="0">
                <a:solidFill>
                  <a:srgbClr val="000000"/>
                </a:solidFill>
                <a:latin typeface="Arial" pitchFamily="34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de-DE" altLang="ru-RU" smtClea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215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39825" y="684213"/>
            <a:ext cx="4579938" cy="343376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50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4344988"/>
            <a:ext cx="5029200" cy="41148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noProof="1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134CF6-43C0-4020-B4C5-574B3D30C104}" type="datetimeFigureOut">
              <a:rPr lang="ru-RU" smtClean="0"/>
              <a:pPr/>
              <a:t>02.04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7FB312-252B-45E9-A17B-26D5D0C0504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956479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134CF6-43C0-4020-B4C5-574B3D30C104}" type="datetimeFigureOut">
              <a:rPr lang="ru-RU" smtClean="0"/>
              <a:pPr/>
              <a:t>02.04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7FB312-252B-45E9-A17B-26D5D0C0504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510427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134CF6-43C0-4020-B4C5-574B3D30C104}" type="datetimeFigureOut">
              <a:rPr lang="ru-RU" smtClean="0"/>
              <a:pPr/>
              <a:t>02.04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7FB312-252B-45E9-A17B-26D5D0C0504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80403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134CF6-43C0-4020-B4C5-574B3D30C104}" type="datetimeFigureOut">
              <a:rPr lang="ru-RU" smtClean="0"/>
              <a:pPr/>
              <a:t>02.04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7FB312-252B-45E9-A17B-26D5D0C0504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517154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134CF6-43C0-4020-B4C5-574B3D30C104}" type="datetimeFigureOut">
              <a:rPr lang="ru-RU" smtClean="0"/>
              <a:pPr/>
              <a:t>02.04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7FB312-252B-45E9-A17B-26D5D0C0504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269847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134CF6-43C0-4020-B4C5-574B3D30C104}" type="datetimeFigureOut">
              <a:rPr lang="ru-RU" smtClean="0"/>
              <a:pPr/>
              <a:t>02.04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7FB312-252B-45E9-A17B-26D5D0C0504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977194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134CF6-43C0-4020-B4C5-574B3D30C104}" type="datetimeFigureOut">
              <a:rPr lang="ru-RU" smtClean="0"/>
              <a:pPr/>
              <a:t>02.04.201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7FB312-252B-45E9-A17B-26D5D0C0504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119154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134CF6-43C0-4020-B4C5-574B3D30C104}" type="datetimeFigureOut">
              <a:rPr lang="ru-RU" smtClean="0"/>
              <a:pPr/>
              <a:t>02.04.201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7FB312-252B-45E9-A17B-26D5D0C0504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168891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134CF6-43C0-4020-B4C5-574B3D30C104}" type="datetimeFigureOut">
              <a:rPr lang="ru-RU" smtClean="0"/>
              <a:pPr/>
              <a:t>02.04.201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7FB312-252B-45E9-A17B-26D5D0C0504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36475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134CF6-43C0-4020-B4C5-574B3D30C104}" type="datetimeFigureOut">
              <a:rPr lang="ru-RU" smtClean="0"/>
              <a:pPr/>
              <a:t>02.04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7FB312-252B-45E9-A17B-26D5D0C0504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959179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134CF6-43C0-4020-B4C5-574B3D30C104}" type="datetimeFigureOut">
              <a:rPr lang="ru-RU" smtClean="0"/>
              <a:pPr/>
              <a:t>02.04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7FB312-252B-45E9-A17B-26D5D0C0504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674885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335513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4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0" name="Picture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134CF6-43C0-4020-B4C5-574B3D30C104}" type="datetimeFigureOut">
              <a:rPr lang="ru-RU" smtClean="0"/>
              <a:pPr/>
              <a:t>02.04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C7FB312-252B-45E9-A17B-26D5D0C0504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290978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7.jpeg"/><Relationship Id="rId4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3" Type="http://schemas.openxmlformats.org/officeDocument/2006/relationships/tags" Target="../tags/tag45.xml"/><Relationship Id="rId7" Type="http://schemas.openxmlformats.org/officeDocument/2006/relationships/oleObject" Target="../embeddings/oleObject3.bin"/><Relationship Id="rId2" Type="http://schemas.openxmlformats.org/officeDocument/2006/relationships/tags" Target="../tags/tag4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9.jpe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31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0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13" Type="http://schemas.openxmlformats.org/officeDocument/2006/relationships/image" Target="../media/image34.png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12" Type="http://schemas.openxmlformats.org/officeDocument/2006/relationships/image" Target="../media/image33.pn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11" Type="http://schemas.openxmlformats.org/officeDocument/2006/relationships/image" Target="../media/image32.png"/><Relationship Id="rId5" Type="http://schemas.openxmlformats.org/officeDocument/2006/relationships/tags" Target="../tags/tag50.xml"/><Relationship Id="rId15" Type="http://schemas.openxmlformats.org/officeDocument/2006/relationships/image" Target="../media/image36.jpeg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49.xml"/><Relationship Id="rId9" Type="http://schemas.openxmlformats.org/officeDocument/2006/relationships/tags" Target="../tags/tag54.xml"/><Relationship Id="rId14" Type="http://schemas.openxmlformats.org/officeDocument/2006/relationships/image" Target="../media/image3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image" Target="../media/image8.jpeg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image" Target="../media/image7.wmf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image" Target="../media/image6.png"/><Relationship Id="rId5" Type="http://schemas.openxmlformats.org/officeDocument/2006/relationships/tags" Target="../tags/tag7.xml"/><Relationship Id="rId10" Type="http://schemas.openxmlformats.org/officeDocument/2006/relationships/image" Target="../media/image5.png"/><Relationship Id="rId4" Type="http://schemas.openxmlformats.org/officeDocument/2006/relationships/tags" Target="../tags/tag6.xml"/><Relationship Id="rId9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14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5" Type="http://schemas.openxmlformats.org/officeDocument/2006/relationships/tags" Target="../tags/tag16.xml"/><Relationship Id="rId10" Type="http://schemas.openxmlformats.org/officeDocument/2006/relationships/image" Target="../media/image16.jpeg"/><Relationship Id="rId4" Type="http://schemas.openxmlformats.org/officeDocument/2006/relationships/tags" Target="../tags/tag15.xml"/><Relationship Id="rId9" Type="http://schemas.openxmlformats.org/officeDocument/2006/relationships/image" Target="../media/image15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tags" Target="../tags/tag35.xml"/><Relationship Id="rId3" Type="http://schemas.openxmlformats.org/officeDocument/2006/relationships/tags" Target="../tags/tag20.xml"/><Relationship Id="rId21" Type="http://schemas.openxmlformats.org/officeDocument/2006/relationships/tags" Target="../tags/tag38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tags" Target="../tags/tag34.xml"/><Relationship Id="rId25" Type="http://schemas.openxmlformats.org/officeDocument/2006/relationships/slideLayout" Target="../slideLayouts/slideLayout2.xml"/><Relationship Id="rId2" Type="http://schemas.openxmlformats.org/officeDocument/2006/relationships/tags" Target="../tags/tag19.xml"/><Relationship Id="rId16" Type="http://schemas.openxmlformats.org/officeDocument/2006/relationships/tags" Target="../tags/tag33.xml"/><Relationship Id="rId20" Type="http://schemas.openxmlformats.org/officeDocument/2006/relationships/tags" Target="../tags/tag37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24" Type="http://schemas.openxmlformats.org/officeDocument/2006/relationships/tags" Target="../tags/tag41.xml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23" Type="http://schemas.openxmlformats.org/officeDocument/2006/relationships/tags" Target="../tags/tag40.xml"/><Relationship Id="rId10" Type="http://schemas.openxmlformats.org/officeDocument/2006/relationships/tags" Target="../tags/tag27.xml"/><Relationship Id="rId19" Type="http://schemas.openxmlformats.org/officeDocument/2006/relationships/tags" Target="../tags/tag36.xm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Relationship Id="rId22" Type="http://schemas.openxmlformats.org/officeDocument/2006/relationships/tags" Target="../tags/tag3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0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19.png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55576" y="2708920"/>
            <a:ext cx="7488832" cy="1728192"/>
          </a:xfrm>
        </p:spPr>
        <p:txBody>
          <a:bodyPr>
            <a:noAutofit/>
          </a:bodyPr>
          <a:lstStyle/>
          <a:p>
            <a:r>
              <a:rPr lang="ru-RU" sz="3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Практика города Череповца в реализации проектов </a:t>
            </a:r>
            <a:r>
              <a:rPr lang="ru-RU" sz="3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муниципально-частного</a:t>
            </a:r>
            <a:r>
              <a:rPr lang="ru-RU" sz="3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партнерства при эффективном использовании ресурсов бизнеса и власти</a:t>
            </a:r>
            <a:r>
              <a:rPr lang="ru-RU" sz="3000" b="1" dirty="0">
                <a:solidFill>
                  <a:srgbClr val="8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3000" b="1" dirty="0">
                <a:solidFill>
                  <a:srgbClr val="8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</a:br>
            <a:endParaRPr lang="ru-RU" sz="3000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451980" y="5445224"/>
            <a:ext cx="6120680" cy="1080120"/>
          </a:xfrm>
        </p:spPr>
        <p:txBody>
          <a:bodyPr>
            <a:normAutofit/>
          </a:bodyPr>
          <a:lstStyle/>
          <a:p>
            <a:pPr algn="l"/>
            <a:r>
              <a:rPr lang="ru-RU" sz="2000" b="1" i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кладчик: </a:t>
            </a:r>
            <a:r>
              <a:rPr lang="ru-RU" sz="2000" b="1" i="1" dirty="0" smtClean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узин Юрий Александрович</a:t>
            </a:r>
          </a:p>
          <a:p>
            <a:pPr marL="1528763" algn="l"/>
            <a:r>
              <a:rPr lang="ru-RU" sz="2000" b="1" i="1" dirty="0" smtClean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эр города Череповца</a:t>
            </a:r>
          </a:p>
        </p:txBody>
      </p:sp>
      <p:sp>
        <p:nvSpPr>
          <p:cNvPr id="6" name="Овал 5"/>
          <p:cNvSpPr/>
          <p:nvPr/>
        </p:nvSpPr>
        <p:spPr>
          <a:xfrm>
            <a:off x="-36513" y="-76200"/>
            <a:ext cx="1512888" cy="155892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115888"/>
            <a:ext cx="1223963" cy="1209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Кольцо 7"/>
          <p:cNvSpPr/>
          <p:nvPr/>
        </p:nvSpPr>
        <p:spPr>
          <a:xfrm>
            <a:off x="-396875" y="-412750"/>
            <a:ext cx="2232025" cy="2232025"/>
          </a:xfrm>
          <a:prstGeom prst="donut">
            <a:avLst>
              <a:gd name="adj" fmla="val 22254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7771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Прямоугольник 75"/>
          <p:cNvSpPr/>
          <p:nvPr/>
        </p:nvSpPr>
        <p:spPr>
          <a:xfrm>
            <a:off x="603052" y="1189236"/>
            <a:ext cx="959866" cy="5624140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Номер слайда 2"/>
          <p:cNvSpPr txBox="1">
            <a:spLocks/>
          </p:cNvSpPr>
          <p:nvPr/>
        </p:nvSpPr>
        <p:spPr>
          <a:xfrm>
            <a:off x="53794" y="6446663"/>
            <a:ext cx="487363" cy="366713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>
              <a:defRPr/>
            </a:pPr>
            <a:fld id="{C45D8568-3546-4613-9456-5AC0D6096D5C}" type="slidenum">
              <a:rPr lang="ru-RU" sz="2000" b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/>
              </a:pPr>
              <a:t>10</a:t>
            </a:fld>
            <a:endParaRPr 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Прямоугольник 1"/>
          <p:cNvSpPr>
            <a:spLocks noChangeArrowheads="1"/>
          </p:cNvSpPr>
          <p:nvPr/>
        </p:nvSpPr>
        <p:spPr bwMode="auto">
          <a:xfrm>
            <a:off x="603052" y="357166"/>
            <a:ext cx="8505452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alt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Ведется работа по реализации комплексных </a:t>
            </a:r>
            <a:r>
              <a:rPr lang="ru-RU" altLang="ru-RU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инвестиционно-маркетинговых</a:t>
            </a:r>
            <a:r>
              <a:rPr lang="ru-RU" alt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 концепций развития территорий</a:t>
            </a:r>
          </a:p>
        </p:txBody>
      </p:sp>
      <p:grpSp>
        <p:nvGrpSpPr>
          <p:cNvPr id="55" name="Group 4"/>
          <p:cNvGrpSpPr>
            <a:grpSpLocks/>
          </p:cNvGrpSpPr>
          <p:nvPr/>
        </p:nvGrpSpPr>
        <p:grpSpPr bwMode="auto">
          <a:xfrm>
            <a:off x="1435794" y="1815951"/>
            <a:ext cx="7672710" cy="320675"/>
            <a:chOff x="261" y="973"/>
            <a:chExt cx="4683" cy="199"/>
          </a:xfrm>
        </p:grpSpPr>
        <p:grpSp>
          <p:nvGrpSpPr>
            <p:cNvPr id="56" name="Group 5"/>
            <p:cNvGrpSpPr>
              <a:grpSpLocks/>
            </p:cNvGrpSpPr>
            <p:nvPr/>
          </p:nvGrpSpPr>
          <p:grpSpPr bwMode="auto">
            <a:xfrm>
              <a:off x="261" y="973"/>
              <a:ext cx="1546" cy="199"/>
              <a:chOff x="218" y="973"/>
              <a:chExt cx="2537" cy="199"/>
            </a:xfrm>
          </p:grpSpPr>
          <p:sp>
            <p:nvSpPr>
              <p:cNvPr id="59" name="Line 7"/>
              <p:cNvSpPr>
                <a:spLocks noChangeShapeType="1"/>
              </p:cNvSpPr>
              <p:nvPr/>
            </p:nvSpPr>
            <p:spPr bwMode="auto">
              <a:xfrm>
                <a:off x="340" y="973"/>
                <a:ext cx="2415" cy="0"/>
              </a:xfrm>
              <a:prstGeom prst="line">
                <a:avLst/>
              </a:prstGeom>
              <a:noFill/>
              <a:ln w="28575">
                <a:solidFill>
                  <a:srgbClr val="C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60" name="Rectangle 8"/>
              <p:cNvSpPr>
                <a:spLocks noChangeArrowheads="1"/>
              </p:cNvSpPr>
              <p:nvPr/>
            </p:nvSpPr>
            <p:spPr bwMode="auto">
              <a:xfrm>
                <a:off x="218" y="1059"/>
                <a:ext cx="2416" cy="11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810" tIns="0" rIns="3810" bIns="0">
                <a:spAutoFit/>
              </a:bodyPr>
              <a:lstStyle>
                <a:lvl1pPr marL="342900" indent="-342900" defTabSz="895350" eaLnBrk="0" hangingPunct="0">
                  <a:defRPr sz="1600">
                    <a:solidFill>
                      <a:schemeClr val="tx1"/>
                    </a:solidFill>
                    <a:latin typeface="Arial" charset="0"/>
                  </a:defRPr>
                </a:lvl1pPr>
                <a:lvl2pPr marL="193675" indent="-192088" defTabSz="895350" eaLnBrk="0" hangingPunct="0">
                  <a:defRPr sz="16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895350" eaLnBrk="0" hangingPunct="0">
                  <a:defRPr sz="16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895350" eaLnBrk="0" hangingPunct="0">
                  <a:defRPr sz="16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895350" eaLnBrk="0" hangingPunct="0">
                  <a:defRPr sz="16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marL="0" indent="0">
                  <a:lnSpc>
                    <a:spcPct val="90000"/>
                  </a:lnSpc>
                  <a:defRPr/>
                </a:pPr>
                <a:endParaRPr lang="ru-RU" altLang="ru-RU" sz="13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57" name="Line 11"/>
            <p:cNvSpPr>
              <a:spLocks noChangeShapeType="1"/>
            </p:cNvSpPr>
            <p:nvPr/>
          </p:nvSpPr>
          <p:spPr bwMode="auto">
            <a:xfrm>
              <a:off x="1848" y="973"/>
              <a:ext cx="1571" cy="0"/>
            </a:xfrm>
            <a:prstGeom prst="line">
              <a:avLst/>
            </a:prstGeom>
            <a:noFill/>
            <a:ln w="28575">
              <a:solidFill>
                <a:srgbClr val="C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58" name="Line 15"/>
            <p:cNvSpPr>
              <a:spLocks noChangeShapeType="1"/>
            </p:cNvSpPr>
            <p:nvPr/>
          </p:nvSpPr>
          <p:spPr bwMode="auto">
            <a:xfrm>
              <a:off x="3472" y="973"/>
              <a:ext cx="1472" cy="0"/>
            </a:xfrm>
            <a:prstGeom prst="line">
              <a:avLst/>
            </a:prstGeom>
            <a:noFill/>
            <a:ln w="28575">
              <a:solidFill>
                <a:srgbClr val="C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</p:grpSp>
      <p:sp>
        <p:nvSpPr>
          <p:cNvPr id="62" name="Rectangle 12"/>
          <p:cNvSpPr>
            <a:spLocks noChangeArrowheads="1"/>
          </p:cNvSpPr>
          <p:nvPr/>
        </p:nvSpPr>
        <p:spPr bwMode="auto">
          <a:xfrm>
            <a:off x="1689919" y="1903264"/>
            <a:ext cx="2278870" cy="33393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810" tIns="0" rIns="3810" bIns="0">
            <a:spAutoFit/>
          </a:bodyPr>
          <a:lstStyle>
            <a:lvl1pPr marL="342900" indent="-3429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125000"/>
              <a:buFont typeface="Arial" charset="0"/>
              <a:buChar char="▪"/>
              <a:defRPr/>
            </a:pPr>
            <a:r>
              <a:rPr lang="ru-RU" altLang="ko-KR" sz="1200" kern="0" dirty="0" smtClean="0">
                <a:latin typeface="Arial" panose="020B0604020202020204" pitchFamily="34" charset="0"/>
              </a:rPr>
              <a:t>Комплексное развитие прибрежных территорий города через формирование объектов общественной и коммерческой инфраструктуры, рекреационных зон и ярких архитектурных акцентов.</a:t>
            </a:r>
          </a:p>
          <a:p>
            <a:pPr lvl="1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125000"/>
              <a:buFont typeface="Arial" charset="0"/>
              <a:buChar char="▪"/>
              <a:defRPr/>
            </a:pPr>
            <a:endParaRPr lang="ru-RU" altLang="ko-KR" sz="1100" b="1" kern="0" dirty="0" smtClean="0">
              <a:latin typeface="Arial" panose="020B0604020202020204" pitchFamily="34" charset="0"/>
            </a:endParaRPr>
          </a:p>
          <a:p>
            <a:pPr marL="1587" lvl="1" indent="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125000"/>
              <a:defRPr/>
            </a:pPr>
            <a:endParaRPr lang="ru-RU" altLang="ko-KR" sz="700" b="1" kern="0" dirty="0" smtClean="0">
              <a:latin typeface="Arial" panose="020B0604020202020204" pitchFamily="34" charset="0"/>
            </a:endParaRPr>
          </a:p>
          <a:p>
            <a:pPr lvl="1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125000"/>
              <a:buFont typeface="Arial" charset="0"/>
              <a:buChar char="▪"/>
              <a:defRPr/>
            </a:pPr>
            <a:r>
              <a:rPr lang="ru-RU" altLang="ko-KR" sz="1100" b="1" kern="0" dirty="0" smtClean="0">
                <a:latin typeface="Arial" panose="020B0604020202020204" pitchFamily="34" charset="0"/>
              </a:rPr>
              <a:t>2011-2018  гг.</a:t>
            </a:r>
          </a:p>
          <a:p>
            <a:pPr lvl="1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125000"/>
              <a:buFont typeface="Arial" charset="0"/>
              <a:buChar char="▪"/>
              <a:defRPr/>
            </a:pPr>
            <a:endParaRPr lang="ru-RU" altLang="ko-KR" sz="1100" b="1" kern="0" dirty="0" smtClean="0">
              <a:latin typeface="Arial" panose="020B0604020202020204" pitchFamily="34" charset="0"/>
            </a:endParaRPr>
          </a:p>
          <a:p>
            <a:pPr lvl="1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125000"/>
              <a:buFont typeface="Arial" charset="0"/>
              <a:buChar char="▪"/>
              <a:defRPr/>
            </a:pPr>
            <a:r>
              <a:rPr lang="ru-RU" altLang="ko-KR" sz="1200" b="1" kern="0" dirty="0" smtClean="0">
                <a:latin typeface="Arial" panose="020B0604020202020204" pitchFamily="34" charset="0"/>
              </a:rPr>
              <a:t>1 267 </a:t>
            </a:r>
            <a:r>
              <a:rPr lang="ru-RU" altLang="ko-KR" sz="1100" b="1" kern="0" dirty="0" smtClean="0">
                <a:latin typeface="Arial" panose="020B0604020202020204" pitchFamily="34" charset="0"/>
              </a:rPr>
              <a:t>млн. руб., в т. ч.:</a:t>
            </a:r>
          </a:p>
          <a:p>
            <a:pPr marL="349250" lvl="1" indent="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125000"/>
              <a:defRPr/>
            </a:pPr>
            <a:r>
              <a:rPr lang="ru-RU" altLang="ko-KR" sz="1100" kern="0" dirty="0" smtClean="0">
                <a:latin typeface="Arial" panose="020B0604020202020204" pitchFamily="34" charset="0"/>
              </a:rPr>
              <a:t>- 280 млн. руб. – бюджетные средства</a:t>
            </a:r>
          </a:p>
          <a:p>
            <a:pPr marL="520700" lvl="1" indent="-17145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125000"/>
              <a:buFontTx/>
              <a:buChar char="-"/>
              <a:defRPr/>
            </a:pPr>
            <a:r>
              <a:rPr lang="ru-RU" altLang="ko-KR" sz="1100" kern="0" dirty="0" smtClean="0">
                <a:latin typeface="Arial" panose="020B0604020202020204" pitchFamily="34" charset="0"/>
              </a:rPr>
              <a:t>987 млн. руб. – частные инвестиции</a:t>
            </a:r>
          </a:p>
          <a:p>
            <a:pPr marL="520700" lvl="1" indent="-17145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125000"/>
              <a:buFontTx/>
              <a:buChar char="-"/>
              <a:defRPr/>
            </a:pPr>
            <a:endParaRPr lang="ru-RU" altLang="ko-KR" sz="1100" kern="0" dirty="0">
              <a:latin typeface="Arial" panose="020B0604020202020204" pitchFamily="34" charset="0"/>
            </a:endParaRPr>
          </a:p>
          <a:p>
            <a:pPr marL="6350" lvl="1" indent="0" defTabSz="914400" eaLnBrk="1" hangingPunct="1">
              <a:buClr>
                <a:srgbClr val="0070C0"/>
              </a:buClr>
              <a:buSzPct val="125000"/>
              <a:buFont typeface="Arial" charset="0"/>
              <a:buChar char="▪"/>
              <a:defRPr/>
            </a:pPr>
            <a:r>
              <a:rPr lang="ru-RU" altLang="ko-KR" sz="1100" b="1" kern="0" dirty="0" smtClean="0">
                <a:solidFill>
                  <a:prstClr val="black"/>
                </a:solidFill>
                <a:latin typeface="Arial" panose="020B0604020202020204" pitchFamily="34" charset="0"/>
              </a:rPr>
              <a:t>   </a:t>
            </a:r>
            <a:r>
              <a:rPr lang="ru-RU" altLang="ko-KR" sz="1200" b="1" kern="0" dirty="0" smtClean="0">
                <a:solidFill>
                  <a:prstClr val="black"/>
                </a:solidFill>
                <a:latin typeface="Arial" panose="020B0604020202020204" pitchFamily="34" charset="0"/>
              </a:rPr>
              <a:t> 507 </a:t>
            </a:r>
            <a:r>
              <a:rPr lang="ru-RU" altLang="ko-KR" sz="1100" b="1" kern="0" dirty="0" smtClean="0">
                <a:solidFill>
                  <a:prstClr val="black"/>
                </a:solidFill>
                <a:latin typeface="Arial" panose="020B0604020202020204" pitchFamily="34" charset="0"/>
              </a:rPr>
              <a:t>чел. </a:t>
            </a:r>
            <a:endParaRPr lang="ru-RU" altLang="ko-KR" sz="1100" b="1" kern="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63" name="Rectangle 12"/>
          <p:cNvSpPr>
            <a:spLocks noChangeArrowheads="1"/>
          </p:cNvSpPr>
          <p:nvPr/>
        </p:nvSpPr>
        <p:spPr bwMode="auto">
          <a:xfrm>
            <a:off x="6732241" y="1892151"/>
            <a:ext cx="2376263" cy="36471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810" tIns="0" rIns="3810" bIns="0">
            <a:spAutoFit/>
          </a:bodyPr>
          <a:lstStyle>
            <a:lvl1pPr marL="342900" indent="-3429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125000"/>
              <a:buFont typeface="Arial" charset="0"/>
              <a:buChar char="▪"/>
              <a:defRPr/>
            </a:pPr>
            <a:r>
              <a:rPr lang="ru-RU" altLang="ko-KR" sz="1200" kern="0" dirty="0" smtClean="0">
                <a:latin typeface="Arial" panose="020B0604020202020204" pitchFamily="34" charset="0"/>
              </a:rPr>
              <a:t>Создание технопарка малого бизнеса в г. Череповец для осуществления деятельности в сфере производства, , состоящего из производственных помещений и объектов инженерной инфраструктуры.</a:t>
            </a:r>
            <a:endParaRPr lang="ru-RU" altLang="ko-KR" sz="1000" b="1" kern="0" dirty="0" smtClean="0">
              <a:latin typeface="Arial" panose="020B0604020202020204" pitchFamily="34" charset="0"/>
            </a:endParaRPr>
          </a:p>
          <a:p>
            <a:pPr marL="1587" lvl="1" indent="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125000"/>
              <a:defRPr/>
            </a:pPr>
            <a:endParaRPr lang="ru-RU" altLang="ko-KR" sz="1000" b="1" kern="0" dirty="0" smtClean="0">
              <a:latin typeface="Arial" panose="020B0604020202020204" pitchFamily="34" charset="0"/>
            </a:endParaRPr>
          </a:p>
          <a:p>
            <a:pPr marL="1587" lvl="1" indent="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125000"/>
              <a:defRPr/>
            </a:pPr>
            <a:endParaRPr lang="ru-RU" altLang="ko-KR" sz="1000" b="1" kern="0" dirty="0" smtClean="0">
              <a:latin typeface="Arial" panose="020B0604020202020204" pitchFamily="34" charset="0"/>
            </a:endParaRPr>
          </a:p>
          <a:p>
            <a:pPr lvl="1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125000"/>
              <a:buFont typeface="Arial" charset="0"/>
              <a:buChar char="▪"/>
              <a:defRPr/>
            </a:pPr>
            <a:r>
              <a:rPr lang="ru-RU" altLang="ko-KR" sz="1100" b="1" kern="0" dirty="0" smtClean="0">
                <a:latin typeface="Arial" panose="020B0604020202020204" pitchFamily="34" charset="0"/>
              </a:rPr>
              <a:t>2016-2018  гг.</a:t>
            </a:r>
          </a:p>
          <a:p>
            <a:pPr marL="1587" lvl="1" indent="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125000"/>
              <a:defRPr/>
            </a:pPr>
            <a:endParaRPr lang="ru-RU" altLang="ko-KR" sz="1100" b="1" kern="0" dirty="0" smtClean="0">
              <a:latin typeface="Arial" panose="020B0604020202020204" pitchFamily="34" charset="0"/>
            </a:endParaRPr>
          </a:p>
          <a:p>
            <a:pPr lvl="1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125000"/>
              <a:buFont typeface="Arial" charset="0"/>
              <a:buChar char="▪"/>
              <a:defRPr/>
            </a:pPr>
            <a:r>
              <a:rPr lang="ru-RU" altLang="ko-KR" sz="1200" b="1" kern="0" dirty="0" smtClean="0">
                <a:latin typeface="Arial" panose="020B0604020202020204" pitchFamily="34" charset="0"/>
              </a:rPr>
              <a:t>711,6 </a:t>
            </a:r>
            <a:r>
              <a:rPr lang="ru-RU" altLang="ko-KR" sz="1100" b="1" kern="0" dirty="0" smtClean="0">
                <a:latin typeface="Arial" panose="020B0604020202020204" pitchFamily="34" charset="0"/>
              </a:rPr>
              <a:t>млн. руб., в т. ч.:</a:t>
            </a:r>
          </a:p>
          <a:p>
            <a:pPr marL="349250" lvl="1" indent="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125000"/>
              <a:defRPr/>
            </a:pPr>
            <a:r>
              <a:rPr lang="ru-RU" altLang="ko-KR" sz="1100" kern="0" dirty="0" smtClean="0">
                <a:latin typeface="Arial" panose="020B0604020202020204" pitchFamily="34" charset="0"/>
              </a:rPr>
              <a:t>- 171,6 млн. руб. – бюджетные средства</a:t>
            </a:r>
          </a:p>
          <a:p>
            <a:pPr marL="349250" lvl="1" indent="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125000"/>
              <a:defRPr/>
            </a:pPr>
            <a:r>
              <a:rPr lang="ru-RU" altLang="ko-KR" sz="1100" kern="0" dirty="0" smtClean="0">
                <a:latin typeface="Arial" panose="020B0604020202020204" pitchFamily="34" charset="0"/>
              </a:rPr>
              <a:t>- 540 млн. руб. – частные инвестиции</a:t>
            </a:r>
          </a:p>
          <a:p>
            <a:pPr marL="520700" lvl="1" indent="-17145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125000"/>
              <a:buFontTx/>
              <a:buChar char="-"/>
              <a:defRPr/>
            </a:pPr>
            <a:endParaRPr lang="ru-RU" altLang="ko-KR" sz="1100" kern="0" dirty="0">
              <a:latin typeface="Arial" panose="020B0604020202020204" pitchFamily="34" charset="0"/>
            </a:endParaRPr>
          </a:p>
          <a:p>
            <a:pPr marL="6350" lvl="1" indent="0" defTabSz="914400" eaLnBrk="1" hangingPunct="1">
              <a:buClr>
                <a:srgbClr val="0070C0"/>
              </a:buClr>
              <a:buSzPct val="125000"/>
              <a:buFont typeface="Arial" charset="0"/>
              <a:buChar char="▪"/>
              <a:defRPr/>
            </a:pPr>
            <a:r>
              <a:rPr lang="ru-RU" altLang="ko-KR" sz="1100" b="1" kern="0" dirty="0">
                <a:solidFill>
                  <a:prstClr val="black"/>
                </a:solidFill>
                <a:latin typeface="Arial" panose="020B0604020202020204" pitchFamily="34" charset="0"/>
              </a:rPr>
              <a:t>    </a:t>
            </a:r>
            <a:r>
              <a:rPr lang="ru-RU" altLang="ko-KR" sz="1200" b="1" kern="0" dirty="0" smtClean="0">
                <a:solidFill>
                  <a:prstClr val="black"/>
                </a:solidFill>
                <a:latin typeface="Arial" panose="020B0604020202020204" pitchFamily="34" charset="0"/>
              </a:rPr>
              <a:t>211</a:t>
            </a:r>
            <a:r>
              <a:rPr lang="ru-RU" altLang="ko-KR" sz="1100" b="1" kern="0" dirty="0" smtClean="0">
                <a:solidFill>
                  <a:prstClr val="black"/>
                </a:solidFill>
                <a:latin typeface="Arial" panose="020B0604020202020204" pitchFamily="34" charset="0"/>
              </a:rPr>
              <a:t> </a:t>
            </a:r>
            <a:r>
              <a:rPr lang="ru-RU" altLang="ko-KR" sz="1100" b="1" kern="0" dirty="0">
                <a:solidFill>
                  <a:prstClr val="black"/>
                </a:solidFill>
                <a:latin typeface="Arial" panose="020B0604020202020204" pitchFamily="34" charset="0"/>
              </a:rPr>
              <a:t>чел. </a:t>
            </a:r>
          </a:p>
          <a:p>
            <a:pPr marL="1587" lvl="1" indent="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125000"/>
              <a:defRPr/>
            </a:pPr>
            <a:endParaRPr lang="ru-RU" altLang="ko-KR" sz="1100" b="1" kern="0" dirty="0" smtClean="0">
              <a:latin typeface="Arial" panose="020B0604020202020204" pitchFamily="34" charset="0"/>
            </a:endParaRPr>
          </a:p>
          <a:p>
            <a:pPr lvl="1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125000"/>
              <a:buFont typeface="Arial" charset="0"/>
              <a:buChar char="▪"/>
              <a:defRPr/>
            </a:pPr>
            <a:endParaRPr lang="ru-RU" altLang="ko-KR" sz="1100" b="1" kern="0" dirty="0">
              <a:latin typeface="Arial" panose="020B0604020202020204" pitchFamily="34" charset="0"/>
            </a:endParaRPr>
          </a:p>
        </p:txBody>
      </p:sp>
      <p:sp>
        <p:nvSpPr>
          <p:cNvPr id="64" name="Rectangle 12"/>
          <p:cNvSpPr>
            <a:spLocks noChangeArrowheads="1"/>
          </p:cNvSpPr>
          <p:nvPr/>
        </p:nvSpPr>
        <p:spPr bwMode="auto">
          <a:xfrm>
            <a:off x="4035964" y="1903264"/>
            <a:ext cx="2573954" cy="3477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810" tIns="0" rIns="3810" bIns="0">
            <a:spAutoFit/>
          </a:bodyPr>
          <a:lstStyle>
            <a:lvl1pPr marL="342900" indent="-3429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125000"/>
              <a:buFont typeface="Arial" charset="0"/>
              <a:buChar char="▪"/>
              <a:defRPr/>
            </a:pPr>
            <a:r>
              <a:rPr lang="ru-RU" altLang="ko-KR" sz="1200" kern="0" dirty="0" smtClean="0">
                <a:latin typeface="Arial" panose="020B0604020202020204" pitchFamily="34" charset="0"/>
              </a:rPr>
              <a:t>Комплексное развитие промышленной территории северной </a:t>
            </a:r>
            <a:r>
              <a:rPr lang="ru-RU" altLang="ko-KR" sz="1200" kern="0" dirty="0" err="1" smtClean="0">
                <a:latin typeface="Arial" panose="020B0604020202020204" pitchFamily="34" charset="0"/>
              </a:rPr>
              <a:t>промзоны</a:t>
            </a:r>
            <a:r>
              <a:rPr lang="ru-RU" altLang="ko-KR" sz="1200" kern="0" dirty="0" smtClean="0">
                <a:latin typeface="Arial" panose="020B0604020202020204" pitchFamily="34" charset="0"/>
              </a:rPr>
              <a:t> через создание нового промышленного кластера, использующего преимущества размещения внутри крупной промышленной агломерации.</a:t>
            </a:r>
          </a:p>
          <a:p>
            <a:pPr lvl="1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125000"/>
              <a:buFont typeface="Arial" charset="0"/>
              <a:buChar char="▪"/>
              <a:defRPr/>
            </a:pPr>
            <a:endParaRPr lang="ru-RU" altLang="ko-KR" sz="1000" b="1" kern="0" dirty="0" smtClean="0">
              <a:latin typeface="Arial" panose="020B0604020202020204" pitchFamily="34" charset="0"/>
            </a:endParaRPr>
          </a:p>
          <a:p>
            <a:pPr marL="1587" lvl="1" indent="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125000"/>
              <a:defRPr/>
            </a:pPr>
            <a:endParaRPr lang="ru-RU" altLang="ko-KR" sz="1000" b="1" kern="0" dirty="0" smtClean="0">
              <a:latin typeface="Arial" panose="020B0604020202020204" pitchFamily="34" charset="0"/>
            </a:endParaRPr>
          </a:p>
          <a:p>
            <a:pPr lvl="1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125000"/>
              <a:buFont typeface="Arial" charset="0"/>
              <a:buChar char="▪"/>
              <a:defRPr/>
            </a:pPr>
            <a:r>
              <a:rPr lang="ru-RU" altLang="ko-KR" sz="1100" b="1" kern="0" dirty="0" smtClean="0">
                <a:latin typeface="Arial" panose="020B0604020202020204" pitchFamily="34" charset="0"/>
              </a:rPr>
              <a:t>2015-2018  гг.</a:t>
            </a:r>
          </a:p>
          <a:p>
            <a:pPr marL="1587" lvl="1" indent="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125000"/>
              <a:defRPr/>
            </a:pPr>
            <a:endParaRPr lang="ru-RU" altLang="ko-KR" sz="1100" b="1" kern="0" dirty="0" smtClean="0">
              <a:solidFill>
                <a:srgbClr val="FF0000"/>
              </a:solidFill>
              <a:latin typeface="Arial" panose="020B0604020202020204" pitchFamily="34" charset="0"/>
            </a:endParaRPr>
          </a:p>
          <a:p>
            <a:pPr lvl="1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125000"/>
              <a:buFont typeface="Arial" charset="0"/>
              <a:buChar char="▪"/>
              <a:defRPr/>
            </a:pPr>
            <a:r>
              <a:rPr lang="ru-RU" altLang="ko-KR" sz="1200" b="1" kern="0" dirty="0" smtClean="0">
                <a:latin typeface="Arial" panose="020B0604020202020204" pitchFamily="34" charset="0"/>
              </a:rPr>
              <a:t>5 247 </a:t>
            </a:r>
            <a:r>
              <a:rPr lang="ru-RU" altLang="ko-KR" sz="1100" b="1" kern="0" dirty="0" smtClean="0">
                <a:latin typeface="Arial" panose="020B0604020202020204" pitchFamily="34" charset="0"/>
              </a:rPr>
              <a:t>млн. руб., в т. ч.:</a:t>
            </a:r>
          </a:p>
          <a:p>
            <a:pPr marL="349250" lvl="1" indent="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125000"/>
              <a:defRPr/>
            </a:pPr>
            <a:r>
              <a:rPr lang="ru-RU" altLang="ko-KR" sz="1100" kern="0" dirty="0" smtClean="0">
                <a:latin typeface="Arial" panose="020B0604020202020204" pitchFamily="34" charset="0"/>
              </a:rPr>
              <a:t>- 750 млн. руб. – бюджетные средства</a:t>
            </a:r>
          </a:p>
          <a:p>
            <a:pPr marL="349250" lvl="1" indent="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125000"/>
              <a:defRPr/>
            </a:pPr>
            <a:r>
              <a:rPr lang="ru-RU" altLang="ko-KR" sz="1100" kern="0" dirty="0" smtClean="0">
                <a:latin typeface="Arial" panose="020B0604020202020204" pitchFamily="34" charset="0"/>
              </a:rPr>
              <a:t>- 4 497 млн. руб. – частные инвестиции</a:t>
            </a:r>
            <a:endParaRPr lang="ru-RU" altLang="ko-KR" sz="1100" b="1" kern="0" dirty="0">
              <a:latin typeface="Arial" panose="020B0604020202020204" pitchFamily="34" charset="0"/>
            </a:endParaRPr>
          </a:p>
          <a:p>
            <a:pPr marL="520700" lvl="1" indent="-171450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125000"/>
              <a:buFontTx/>
              <a:buChar char="-"/>
              <a:defRPr/>
            </a:pPr>
            <a:endParaRPr lang="ru-RU" altLang="ko-KR" sz="1100" kern="0" dirty="0">
              <a:latin typeface="Arial" panose="020B0604020202020204" pitchFamily="34" charset="0"/>
            </a:endParaRPr>
          </a:p>
          <a:p>
            <a:pPr marL="6350" lvl="1" indent="0" defTabSz="914400" eaLnBrk="1" hangingPunct="1">
              <a:buClr>
                <a:srgbClr val="0070C0"/>
              </a:buClr>
              <a:buSzPct val="125000"/>
              <a:buFont typeface="Arial" charset="0"/>
              <a:buChar char="▪"/>
              <a:defRPr/>
            </a:pPr>
            <a:r>
              <a:rPr lang="ru-RU" altLang="ko-KR" sz="1100" b="1" kern="0" dirty="0">
                <a:solidFill>
                  <a:prstClr val="black"/>
                </a:solidFill>
                <a:latin typeface="Arial" panose="020B0604020202020204" pitchFamily="34" charset="0"/>
              </a:rPr>
              <a:t>    </a:t>
            </a:r>
            <a:r>
              <a:rPr lang="ru-RU" altLang="ko-KR" sz="1200" b="1" kern="0" dirty="0" smtClean="0">
                <a:solidFill>
                  <a:prstClr val="black"/>
                </a:solidFill>
                <a:latin typeface="Arial" panose="020B0604020202020204" pitchFamily="34" charset="0"/>
              </a:rPr>
              <a:t>776</a:t>
            </a:r>
            <a:r>
              <a:rPr lang="ru-RU" altLang="ko-KR" sz="1100" b="1" kern="0" dirty="0" smtClean="0">
                <a:solidFill>
                  <a:prstClr val="black"/>
                </a:solidFill>
                <a:latin typeface="Arial" panose="020B0604020202020204" pitchFamily="34" charset="0"/>
              </a:rPr>
              <a:t> </a:t>
            </a:r>
            <a:r>
              <a:rPr lang="ru-RU" altLang="ko-KR" sz="1100" b="1" kern="0" dirty="0">
                <a:solidFill>
                  <a:prstClr val="black"/>
                </a:solidFill>
                <a:latin typeface="Arial" panose="020B0604020202020204" pitchFamily="34" charset="0"/>
              </a:rPr>
              <a:t>чел. </a:t>
            </a:r>
          </a:p>
          <a:p>
            <a:pPr marL="1587" lvl="1" indent="0" eaLnBrk="1" hangingPunct="1">
              <a:buClr>
                <a:srgbClr val="C00000"/>
              </a:buClr>
              <a:buSzPct val="125000"/>
              <a:defRPr/>
            </a:pPr>
            <a:endParaRPr lang="ru-RU" altLang="ko-KR" sz="1100" b="1" kern="0" dirty="0">
              <a:latin typeface="Arial" panose="020B0604020202020204" pitchFamily="34" charset="0"/>
            </a:endParaRPr>
          </a:p>
        </p:txBody>
      </p:sp>
      <p:sp>
        <p:nvSpPr>
          <p:cNvPr id="65" name="Rectangle 6"/>
          <p:cNvSpPr>
            <a:spLocks noChangeArrowheads="1"/>
          </p:cNvSpPr>
          <p:nvPr/>
        </p:nvSpPr>
        <p:spPr bwMode="auto">
          <a:xfrm>
            <a:off x="1547664" y="1293242"/>
            <a:ext cx="2421124" cy="400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810" tIns="0" rIns="3810" bIns="0" anchor="b">
            <a:spAutoFit/>
          </a:bodyPr>
          <a:lstStyle/>
          <a:p>
            <a:pPr algn="ctr" defTabSz="895350">
              <a:buClr>
                <a:schemeClr val="tx2"/>
              </a:buClr>
            </a:pPr>
            <a:r>
              <a:rPr lang="ru-RU" altLang="ko-KR" sz="1300" b="1" dirty="0" smtClean="0">
                <a:latin typeface="Arial" pitchFamily="34" charset="0"/>
                <a:ea typeface="Gulim" pitchFamily="34" charset="-127"/>
              </a:rPr>
              <a:t>ТРК «Центральная городская набережная» </a:t>
            </a:r>
            <a:endParaRPr lang="ru-RU" altLang="ko-KR" sz="1300" b="1" dirty="0">
              <a:latin typeface="Arial" pitchFamily="34" charset="0"/>
              <a:ea typeface="Gulim" pitchFamily="34" charset="-127"/>
            </a:endParaRPr>
          </a:p>
        </p:txBody>
      </p:sp>
      <p:sp>
        <p:nvSpPr>
          <p:cNvPr id="66" name="Rectangle 10"/>
          <p:cNvSpPr>
            <a:spLocks noChangeArrowheads="1"/>
          </p:cNvSpPr>
          <p:nvPr/>
        </p:nvSpPr>
        <p:spPr bwMode="auto">
          <a:xfrm>
            <a:off x="4035964" y="1293242"/>
            <a:ext cx="2573953" cy="400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810" tIns="0" rIns="3810" bIns="0" anchor="b">
            <a:spAutoFit/>
          </a:bodyPr>
          <a:lstStyle/>
          <a:p>
            <a:pPr algn="ctr" defTabSz="895350">
              <a:buClr>
                <a:schemeClr val="tx2"/>
              </a:buClr>
            </a:pPr>
            <a:r>
              <a:rPr lang="ru-RU" altLang="ko-KR" sz="1300" b="1" dirty="0" smtClean="0">
                <a:latin typeface="Arial" pitchFamily="34" charset="0"/>
                <a:ea typeface="Gulim" pitchFamily="34" charset="-127"/>
              </a:rPr>
              <a:t>Индустриальный парк «Череповец»</a:t>
            </a:r>
            <a:endParaRPr lang="ru-RU" altLang="ko-KR" sz="1300" b="1" dirty="0">
              <a:latin typeface="Arial" pitchFamily="34" charset="0"/>
              <a:ea typeface="Gulim" pitchFamily="34" charset="-127"/>
            </a:endParaRPr>
          </a:p>
        </p:txBody>
      </p:sp>
      <p:sp>
        <p:nvSpPr>
          <p:cNvPr id="67" name="Rectangle 14"/>
          <p:cNvSpPr>
            <a:spLocks noChangeArrowheads="1"/>
          </p:cNvSpPr>
          <p:nvPr/>
        </p:nvSpPr>
        <p:spPr bwMode="auto">
          <a:xfrm>
            <a:off x="6696753" y="1293242"/>
            <a:ext cx="2447247" cy="400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3810" tIns="0" rIns="3810" bIns="0" anchor="b">
            <a:spAutoFit/>
          </a:bodyPr>
          <a:lstStyle/>
          <a:p>
            <a:pPr algn="ctr" defTabSz="895350">
              <a:buClr>
                <a:schemeClr val="tx2"/>
              </a:buClr>
            </a:pPr>
            <a:r>
              <a:rPr lang="ru-RU" altLang="ko-KR" sz="1300" b="1" dirty="0" smtClean="0">
                <a:latin typeface="Arial" pitchFamily="34" charset="0"/>
                <a:ea typeface="Gulim" pitchFamily="34" charset="-127"/>
              </a:rPr>
              <a:t>Технопарк высоких технологий</a:t>
            </a:r>
            <a:endParaRPr lang="ru-RU" altLang="ko-KR" sz="1300" b="1" dirty="0">
              <a:latin typeface="Arial" pitchFamily="34" charset="0"/>
              <a:ea typeface="Gulim" pitchFamily="34" charset="-127"/>
            </a:endParaRPr>
          </a:p>
        </p:txBody>
      </p:sp>
      <p:sp>
        <p:nvSpPr>
          <p:cNvPr id="68" name="Прямоугольник 90"/>
          <p:cNvSpPr>
            <a:spLocks noChangeArrowheads="1"/>
          </p:cNvSpPr>
          <p:nvPr/>
        </p:nvSpPr>
        <p:spPr bwMode="auto">
          <a:xfrm>
            <a:off x="540567" y="1837308"/>
            <a:ext cx="1270001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ru-RU" altLang="ru-RU" sz="1200" b="1" i="1" dirty="0"/>
              <a:t>Суть</a:t>
            </a:r>
          </a:p>
        </p:txBody>
      </p:sp>
      <p:sp>
        <p:nvSpPr>
          <p:cNvPr id="69" name="Прямоугольник 91"/>
          <p:cNvSpPr>
            <a:spLocks noChangeArrowheads="1"/>
          </p:cNvSpPr>
          <p:nvPr/>
        </p:nvSpPr>
        <p:spPr bwMode="auto">
          <a:xfrm>
            <a:off x="541157" y="3471094"/>
            <a:ext cx="1204323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ru-RU" altLang="ru-RU" sz="1200" b="1" i="1" dirty="0"/>
              <a:t>Срок реализации </a:t>
            </a:r>
          </a:p>
        </p:txBody>
      </p:sp>
      <p:sp>
        <p:nvSpPr>
          <p:cNvPr id="70" name="Прямоугольник 92"/>
          <p:cNvSpPr>
            <a:spLocks noChangeArrowheads="1"/>
          </p:cNvSpPr>
          <p:nvPr/>
        </p:nvSpPr>
        <p:spPr bwMode="auto">
          <a:xfrm>
            <a:off x="540567" y="4191173"/>
            <a:ext cx="1149351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ru-RU" altLang="ru-RU" sz="1200" b="1" i="1" dirty="0"/>
              <a:t>Объем инвестиций</a:t>
            </a:r>
          </a:p>
        </p:txBody>
      </p:sp>
      <p:sp>
        <p:nvSpPr>
          <p:cNvPr id="71" name="Прямоугольник 93"/>
          <p:cNvSpPr>
            <a:spLocks noChangeArrowheads="1"/>
          </p:cNvSpPr>
          <p:nvPr/>
        </p:nvSpPr>
        <p:spPr bwMode="auto">
          <a:xfrm>
            <a:off x="540567" y="5487318"/>
            <a:ext cx="1511301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sz="1200" b="1" i="1" dirty="0"/>
              <a:t>Схема территории</a:t>
            </a:r>
          </a:p>
        </p:txBody>
      </p:sp>
      <p:sp>
        <p:nvSpPr>
          <p:cNvPr id="72" name="Прямоугольник 94"/>
          <p:cNvSpPr>
            <a:spLocks noChangeArrowheads="1"/>
          </p:cNvSpPr>
          <p:nvPr/>
        </p:nvSpPr>
        <p:spPr bwMode="auto">
          <a:xfrm>
            <a:off x="540567" y="1261244"/>
            <a:ext cx="101703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ru-RU" altLang="ru-RU" sz="1200" b="1" i="1" dirty="0"/>
              <a:t>Концепция</a:t>
            </a:r>
          </a:p>
        </p:txBody>
      </p:sp>
      <p:grpSp>
        <p:nvGrpSpPr>
          <p:cNvPr id="77" name="Группа 76"/>
          <p:cNvGrpSpPr/>
          <p:nvPr/>
        </p:nvGrpSpPr>
        <p:grpSpPr>
          <a:xfrm>
            <a:off x="603052" y="3933056"/>
            <a:ext cx="8420298" cy="939130"/>
            <a:chOff x="165100" y="445614"/>
            <a:chExt cx="8858250" cy="1970755"/>
          </a:xfrm>
        </p:grpSpPr>
        <p:cxnSp>
          <p:nvCxnSpPr>
            <p:cNvPr id="78" name="Прямая соединительная линия 77"/>
            <p:cNvCxnSpPr/>
            <p:nvPr/>
          </p:nvCxnSpPr>
          <p:spPr>
            <a:xfrm flipV="1">
              <a:off x="165100" y="445614"/>
              <a:ext cx="8858250" cy="635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  <a:prstDash val="sysDot"/>
              <a:headEnd type="diamond" w="med" len="med"/>
              <a:tailEnd type="diamond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Прямая соединительная линия 78"/>
            <p:cNvCxnSpPr/>
            <p:nvPr/>
          </p:nvCxnSpPr>
          <p:spPr>
            <a:xfrm flipV="1">
              <a:off x="165100" y="2410019"/>
              <a:ext cx="8858250" cy="635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  <a:prstDash val="sysDot"/>
              <a:headEnd type="diamond" w="med" len="med"/>
              <a:tailEnd type="diamond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80" name="Прямая соединительная линия 79"/>
          <p:cNvCxnSpPr/>
          <p:nvPr/>
        </p:nvCxnSpPr>
        <p:spPr>
          <a:xfrm flipV="1">
            <a:off x="616198" y="3429000"/>
            <a:ext cx="8420298" cy="302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sysDot"/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itle 2"/>
          <p:cNvSpPr txBox="1">
            <a:spLocks/>
          </p:cNvSpPr>
          <p:nvPr/>
        </p:nvSpPr>
        <p:spPr bwMode="auto">
          <a:xfrm>
            <a:off x="631517" y="93961"/>
            <a:ext cx="8512483" cy="1661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ru-RU" altLang="ru-RU" sz="1200" b="1" dirty="0" smtClean="0"/>
              <a:t>РЕАЛИЗАЦИЯ КОНЦЕПЦИЙ КОМПЛЕКСНОГО РАЗВИТИЯ ТЕРРИТОРИЙ</a:t>
            </a:r>
          </a:p>
        </p:txBody>
      </p:sp>
      <p:pic>
        <p:nvPicPr>
          <p:cNvPr id="30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496" y="5390094"/>
            <a:ext cx="2625414" cy="13975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3702" y="5373216"/>
            <a:ext cx="2411412" cy="1536814"/>
          </a:xfrm>
          <a:prstGeom prst="rect">
            <a:avLst/>
          </a:prstGeom>
          <a:ln w="12700">
            <a:noFill/>
          </a:ln>
        </p:spPr>
      </p:pic>
      <p:grpSp>
        <p:nvGrpSpPr>
          <p:cNvPr id="32" name="Группа 3"/>
          <p:cNvGrpSpPr>
            <a:grpSpLocks/>
          </p:cNvGrpSpPr>
          <p:nvPr/>
        </p:nvGrpSpPr>
        <p:grpSpPr bwMode="auto">
          <a:xfrm>
            <a:off x="1571604" y="5390094"/>
            <a:ext cx="2455026" cy="1480621"/>
            <a:chOff x="2593298" y="1915528"/>
            <a:chExt cx="4757071" cy="3960372"/>
          </a:xfrm>
        </p:grpSpPr>
        <p:grpSp>
          <p:nvGrpSpPr>
            <p:cNvPr id="33" name="Группа 2"/>
            <p:cNvGrpSpPr>
              <a:grpSpLocks/>
            </p:cNvGrpSpPr>
            <p:nvPr/>
          </p:nvGrpSpPr>
          <p:grpSpPr bwMode="auto">
            <a:xfrm>
              <a:off x="2593298" y="1915528"/>
              <a:ext cx="4757071" cy="3960372"/>
              <a:chOff x="7117014" y="2032562"/>
              <a:chExt cx="2143835" cy="1601019"/>
            </a:xfrm>
          </p:grpSpPr>
          <p:pic>
            <p:nvPicPr>
              <p:cNvPr id="36" name="Рисунок 59"/>
              <p:cNvPicPr>
                <a:picLocks noChangeAspect="1" noChangeArrowheads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6064" t="22806" r="30653" b="18310"/>
              <a:stretch/>
            </p:blipFill>
            <p:spPr bwMode="auto">
              <a:xfrm>
                <a:off x="7117014" y="2032562"/>
                <a:ext cx="2143835" cy="1601019"/>
              </a:xfrm>
              <a:prstGeom prst="rect">
                <a:avLst/>
              </a:prstGeom>
              <a:noFill/>
              <a:ln>
                <a:noFill/>
              </a:ln>
              <a:effectLst>
                <a:outerShdw sx="999" sy="999" algn="tl" rotWithShape="0">
                  <a:srgbClr val="333333"/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7" name="Полилиния 36"/>
              <p:cNvSpPr/>
              <p:nvPr/>
            </p:nvSpPr>
            <p:spPr>
              <a:xfrm>
                <a:off x="7405277" y="2291655"/>
                <a:ext cx="1119434" cy="633332"/>
              </a:xfrm>
              <a:custGeom>
                <a:avLst/>
                <a:gdLst>
                  <a:gd name="connsiteX0" fmla="*/ 0 w 1119187"/>
                  <a:gd name="connsiteY0" fmla="*/ 633413 h 633413"/>
                  <a:gd name="connsiteX1" fmla="*/ 319087 w 1119187"/>
                  <a:gd name="connsiteY1" fmla="*/ 623888 h 633413"/>
                  <a:gd name="connsiteX2" fmla="*/ 604837 w 1119187"/>
                  <a:gd name="connsiteY2" fmla="*/ 561975 h 633413"/>
                  <a:gd name="connsiteX3" fmla="*/ 800100 w 1119187"/>
                  <a:gd name="connsiteY3" fmla="*/ 481013 h 633413"/>
                  <a:gd name="connsiteX4" fmla="*/ 990600 w 1119187"/>
                  <a:gd name="connsiteY4" fmla="*/ 304800 h 633413"/>
                  <a:gd name="connsiteX5" fmla="*/ 1052512 w 1119187"/>
                  <a:gd name="connsiteY5" fmla="*/ 242888 h 633413"/>
                  <a:gd name="connsiteX6" fmla="*/ 1119187 w 1119187"/>
                  <a:gd name="connsiteY6" fmla="*/ 0 h 633413"/>
                  <a:gd name="connsiteX7" fmla="*/ 1081087 w 1119187"/>
                  <a:gd name="connsiteY7" fmla="*/ 0 h 633413"/>
                  <a:gd name="connsiteX8" fmla="*/ 1019175 w 1119187"/>
                  <a:gd name="connsiteY8" fmla="*/ 242888 h 633413"/>
                  <a:gd name="connsiteX9" fmla="*/ 1019175 w 1119187"/>
                  <a:gd name="connsiteY9" fmla="*/ 242888 h 633413"/>
                  <a:gd name="connsiteX10" fmla="*/ 952500 w 1119187"/>
                  <a:gd name="connsiteY10" fmla="*/ 238125 h 633413"/>
                  <a:gd name="connsiteX11" fmla="*/ 776287 w 1119187"/>
                  <a:gd name="connsiteY11" fmla="*/ 423863 h 633413"/>
                  <a:gd name="connsiteX12" fmla="*/ 557212 w 1119187"/>
                  <a:gd name="connsiteY12" fmla="*/ 514350 h 633413"/>
                  <a:gd name="connsiteX13" fmla="*/ 266700 w 1119187"/>
                  <a:gd name="connsiteY13" fmla="*/ 581025 h 633413"/>
                  <a:gd name="connsiteX14" fmla="*/ 261937 w 1119187"/>
                  <a:gd name="connsiteY14" fmla="*/ 528638 h 633413"/>
                  <a:gd name="connsiteX15" fmla="*/ 0 w 1119187"/>
                  <a:gd name="connsiteY15" fmla="*/ 547688 h 633413"/>
                  <a:gd name="connsiteX16" fmla="*/ 0 w 1119187"/>
                  <a:gd name="connsiteY16" fmla="*/ 633413 h 633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19187" h="633413">
                    <a:moveTo>
                      <a:pt x="0" y="633413"/>
                    </a:moveTo>
                    <a:lnTo>
                      <a:pt x="319087" y="623888"/>
                    </a:lnTo>
                    <a:lnTo>
                      <a:pt x="604837" y="561975"/>
                    </a:lnTo>
                    <a:lnTo>
                      <a:pt x="800100" y="481013"/>
                    </a:lnTo>
                    <a:lnTo>
                      <a:pt x="990600" y="304800"/>
                    </a:lnTo>
                    <a:lnTo>
                      <a:pt x="1052512" y="242888"/>
                    </a:lnTo>
                    <a:lnTo>
                      <a:pt x="1119187" y="0"/>
                    </a:lnTo>
                    <a:lnTo>
                      <a:pt x="1081087" y="0"/>
                    </a:lnTo>
                    <a:lnTo>
                      <a:pt x="1019175" y="242888"/>
                    </a:lnTo>
                    <a:lnTo>
                      <a:pt x="1019175" y="242888"/>
                    </a:lnTo>
                    <a:lnTo>
                      <a:pt x="952500" y="238125"/>
                    </a:lnTo>
                    <a:lnTo>
                      <a:pt x="776287" y="423863"/>
                    </a:lnTo>
                    <a:lnTo>
                      <a:pt x="557212" y="514350"/>
                    </a:lnTo>
                    <a:lnTo>
                      <a:pt x="266700" y="581025"/>
                    </a:lnTo>
                    <a:lnTo>
                      <a:pt x="261937" y="528638"/>
                    </a:lnTo>
                    <a:lnTo>
                      <a:pt x="0" y="547688"/>
                    </a:lnTo>
                    <a:lnTo>
                      <a:pt x="0" y="633413"/>
                    </a:lnTo>
                    <a:close/>
                  </a:path>
                </a:pathLst>
              </a:custGeom>
              <a:solidFill>
                <a:srgbClr val="800000"/>
              </a:solidFill>
              <a:ln>
                <a:solidFill>
                  <a:srgbClr val="8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/>
              </a:p>
            </p:txBody>
          </p:sp>
          <p:sp>
            <p:nvSpPr>
              <p:cNvPr id="38" name="Полилиния 37"/>
              <p:cNvSpPr/>
              <p:nvPr/>
            </p:nvSpPr>
            <p:spPr>
              <a:xfrm>
                <a:off x="7458209" y="3239407"/>
                <a:ext cx="856921" cy="271428"/>
              </a:xfrm>
              <a:custGeom>
                <a:avLst/>
                <a:gdLst>
                  <a:gd name="connsiteX0" fmla="*/ 0 w 857250"/>
                  <a:gd name="connsiteY0" fmla="*/ 123825 h 271462"/>
                  <a:gd name="connsiteX1" fmla="*/ 185738 w 857250"/>
                  <a:gd name="connsiteY1" fmla="*/ 114300 h 271462"/>
                  <a:gd name="connsiteX2" fmla="*/ 295275 w 857250"/>
                  <a:gd name="connsiteY2" fmla="*/ 33337 h 271462"/>
                  <a:gd name="connsiteX3" fmla="*/ 476250 w 857250"/>
                  <a:gd name="connsiteY3" fmla="*/ 0 h 271462"/>
                  <a:gd name="connsiteX4" fmla="*/ 633413 w 857250"/>
                  <a:gd name="connsiteY4" fmla="*/ 19050 h 271462"/>
                  <a:gd name="connsiteX5" fmla="*/ 681038 w 857250"/>
                  <a:gd name="connsiteY5" fmla="*/ 47625 h 271462"/>
                  <a:gd name="connsiteX6" fmla="*/ 857250 w 857250"/>
                  <a:gd name="connsiteY6" fmla="*/ 147637 h 271462"/>
                  <a:gd name="connsiteX7" fmla="*/ 833438 w 857250"/>
                  <a:gd name="connsiteY7" fmla="*/ 271462 h 271462"/>
                  <a:gd name="connsiteX8" fmla="*/ 38100 w 857250"/>
                  <a:gd name="connsiteY8" fmla="*/ 228600 h 271462"/>
                  <a:gd name="connsiteX9" fmla="*/ 0 w 857250"/>
                  <a:gd name="connsiteY9" fmla="*/ 123825 h 271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57250" h="271462">
                    <a:moveTo>
                      <a:pt x="0" y="123825"/>
                    </a:moveTo>
                    <a:lnTo>
                      <a:pt x="185738" y="114300"/>
                    </a:lnTo>
                    <a:lnTo>
                      <a:pt x="295275" y="33337"/>
                    </a:lnTo>
                    <a:lnTo>
                      <a:pt x="476250" y="0"/>
                    </a:lnTo>
                    <a:lnTo>
                      <a:pt x="633413" y="19050"/>
                    </a:lnTo>
                    <a:lnTo>
                      <a:pt x="681038" y="47625"/>
                    </a:lnTo>
                    <a:lnTo>
                      <a:pt x="857250" y="147637"/>
                    </a:lnTo>
                    <a:lnTo>
                      <a:pt x="833438" y="271462"/>
                    </a:lnTo>
                    <a:lnTo>
                      <a:pt x="38100" y="228600"/>
                    </a:lnTo>
                    <a:lnTo>
                      <a:pt x="0" y="123825"/>
                    </a:lnTo>
                    <a:close/>
                  </a:path>
                </a:pathLst>
              </a:custGeom>
              <a:solidFill>
                <a:srgbClr val="800000"/>
              </a:solidFill>
              <a:ln>
                <a:solidFill>
                  <a:srgbClr val="8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/>
              </a:p>
            </p:txBody>
          </p:sp>
        </p:grpSp>
        <p:sp>
          <p:nvSpPr>
            <p:cNvPr id="34" name="Овал 33"/>
            <p:cNvSpPr/>
            <p:nvPr/>
          </p:nvSpPr>
          <p:spPr>
            <a:xfrm>
              <a:off x="3294841" y="3767531"/>
              <a:ext cx="348784" cy="481465"/>
            </a:xfrm>
            <a:prstGeom prst="ellipse">
              <a:avLst/>
            </a:prstGeom>
            <a:solidFill>
              <a:srgbClr val="C00000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r>
                <a:rPr lang="en-US" sz="900" b="1" dirty="0">
                  <a:latin typeface="Arial" pitchFamily="34" charset="0"/>
                  <a:cs typeface="Arial" pitchFamily="34" charset="0"/>
                </a:rPr>
                <a:t>I</a:t>
              </a:r>
            </a:p>
          </p:txBody>
        </p:sp>
        <p:sp>
          <p:nvSpPr>
            <p:cNvPr id="35" name="Овал 34"/>
            <p:cNvSpPr/>
            <p:nvPr/>
          </p:nvSpPr>
          <p:spPr>
            <a:xfrm>
              <a:off x="3439279" y="5024657"/>
              <a:ext cx="348784" cy="481465"/>
            </a:xfrm>
            <a:prstGeom prst="ellipse">
              <a:avLst/>
            </a:prstGeom>
            <a:solidFill>
              <a:srgbClr val="C00000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r>
                <a:rPr lang="en-US" sz="900" b="1" dirty="0">
                  <a:latin typeface="Arial" pitchFamily="34" charset="0"/>
                  <a:cs typeface="Arial" pitchFamily="34" charset="0"/>
                </a:rPr>
                <a:t>II</a:t>
              </a:r>
            </a:p>
          </p:txBody>
        </p:sp>
      </p:grpSp>
      <p:pic>
        <p:nvPicPr>
          <p:cNvPr id="39" name="Picture 3" descr="C:\Users\PK2\Desktop\1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0865" y="5559758"/>
            <a:ext cx="1635911" cy="6024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0" name="Прямая соединительная линия 39"/>
          <p:cNvCxnSpPr/>
          <p:nvPr/>
        </p:nvCxnSpPr>
        <p:spPr>
          <a:xfrm flipV="1">
            <a:off x="611560" y="5301208"/>
            <a:ext cx="8420298" cy="302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sysDot"/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Прямоугольник 92"/>
          <p:cNvSpPr>
            <a:spLocks noChangeArrowheads="1"/>
          </p:cNvSpPr>
          <p:nvPr/>
        </p:nvSpPr>
        <p:spPr bwMode="auto">
          <a:xfrm>
            <a:off x="539552" y="4869160"/>
            <a:ext cx="1149351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ru-RU" altLang="ru-RU" sz="1200" b="1" i="1" dirty="0" smtClean="0"/>
              <a:t>Рабочие места</a:t>
            </a:r>
            <a:endParaRPr lang="ru-RU" altLang="ru-RU" sz="1200" b="1" i="1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1547664" y="6787665"/>
            <a:ext cx="7596336" cy="1223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21431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18" descr="Логотип_цветной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397" b="6604"/>
          <a:stretch>
            <a:fillRect/>
          </a:stretch>
        </p:blipFill>
        <p:spPr bwMode="auto">
          <a:xfrm>
            <a:off x="1052513" y="5157788"/>
            <a:ext cx="2060575" cy="154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Прямая соединительная линия 4"/>
          <p:cNvCxnSpPr>
            <a:stCxn id="75" idx="7"/>
          </p:cNvCxnSpPr>
          <p:nvPr/>
        </p:nvCxnSpPr>
        <p:spPr>
          <a:xfrm flipV="1">
            <a:off x="2955925" y="4802188"/>
            <a:ext cx="858838" cy="654050"/>
          </a:xfrm>
          <a:prstGeom prst="line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2" name="Oval 2"/>
          <p:cNvSpPr/>
          <p:nvPr/>
        </p:nvSpPr>
        <p:spPr>
          <a:xfrm>
            <a:off x="2132013" y="1271588"/>
            <a:ext cx="5040312" cy="5040312"/>
          </a:xfrm>
          <a:prstGeom prst="ellipse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grpSp>
        <p:nvGrpSpPr>
          <p:cNvPr id="14341" name="Группа 17"/>
          <p:cNvGrpSpPr>
            <a:grpSpLocks/>
          </p:cNvGrpSpPr>
          <p:nvPr/>
        </p:nvGrpSpPr>
        <p:grpSpPr bwMode="auto">
          <a:xfrm>
            <a:off x="3914775" y="908050"/>
            <a:ext cx="1638300" cy="1625600"/>
            <a:chOff x="4229409" y="1207732"/>
            <a:chExt cx="1637325" cy="1625610"/>
          </a:xfrm>
        </p:grpSpPr>
        <p:sp>
          <p:nvSpPr>
            <p:cNvPr id="44" name="Oval 13"/>
            <p:cNvSpPr/>
            <p:nvPr/>
          </p:nvSpPr>
          <p:spPr>
            <a:xfrm>
              <a:off x="4229409" y="1207732"/>
              <a:ext cx="1637325" cy="1625610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38100"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200">
                <a:latin typeface="+mj-lt"/>
              </a:endParaRPr>
            </a:p>
          </p:txBody>
        </p:sp>
        <p:sp>
          <p:nvSpPr>
            <p:cNvPr id="49" name="TextBox 59"/>
            <p:cNvSpPr txBox="1">
              <a:spLocks noChangeArrowheads="1"/>
            </p:cNvSpPr>
            <p:nvPr/>
          </p:nvSpPr>
          <p:spPr bwMode="auto">
            <a:xfrm>
              <a:off x="4321041" y="1460819"/>
              <a:ext cx="1453998" cy="892552"/>
            </a:xfrm>
            <a:prstGeom prst="rect">
              <a:avLst/>
            </a:prstGeom>
            <a:noFill/>
            <a:ln>
              <a:noFill/>
            </a:ln>
            <a:scene3d>
              <a:camera prst="orthographicFront"/>
              <a:lightRig rig="threePt" dir="t"/>
            </a:scene3d>
            <a:sp3d extrusionH="254000"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300" b="1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епартамент образования </a:t>
              </a:r>
              <a:r>
                <a:rPr lang="ru-RU" sz="13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О, Мэрия               г</a:t>
              </a:r>
              <a:r>
                <a:rPr lang="ru-RU" sz="1300" b="1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 Череповца</a:t>
              </a:r>
            </a:p>
          </p:txBody>
        </p:sp>
      </p:grpSp>
      <p:grpSp>
        <p:nvGrpSpPr>
          <p:cNvPr id="14342" name="Группа 16"/>
          <p:cNvGrpSpPr>
            <a:grpSpLocks/>
          </p:cNvGrpSpPr>
          <p:nvPr/>
        </p:nvGrpSpPr>
        <p:grpSpPr bwMode="auto">
          <a:xfrm>
            <a:off x="1557338" y="3387725"/>
            <a:ext cx="1636712" cy="1625600"/>
            <a:chOff x="2061589" y="3531582"/>
            <a:chExt cx="1637325" cy="1625610"/>
          </a:xfrm>
        </p:grpSpPr>
        <p:sp>
          <p:nvSpPr>
            <p:cNvPr id="55" name="Oval 23"/>
            <p:cNvSpPr/>
            <p:nvPr/>
          </p:nvSpPr>
          <p:spPr>
            <a:xfrm>
              <a:off x="2061589" y="3531582"/>
              <a:ext cx="1637325" cy="1625610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38100"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200">
                <a:latin typeface="+mj-lt"/>
              </a:endParaRPr>
            </a:p>
          </p:txBody>
        </p:sp>
        <p:sp>
          <p:nvSpPr>
            <p:cNvPr id="70" name="TextBox 59"/>
            <p:cNvSpPr txBox="1">
              <a:spLocks noChangeArrowheads="1"/>
            </p:cNvSpPr>
            <p:nvPr/>
          </p:nvSpPr>
          <p:spPr bwMode="auto">
            <a:xfrm>
              <a:off x="2061589" y="3935747"/>
              <a:ext cx="1637325" cy="892552"/>
            </a:xfrm>
            <a:prstGeom prst="rect">
              <a:avLst/>
            </a:prstGeom>
            <a:noFill/>
            <a:ln>
              <a:noFill/>
            </a:ln>
            <a:scene3d>
              <a:camera prst="orthographicFront"/>
              <a:lightRig rig="threePt" dir="t"/>
            </a:scene3d>
            <a:sp3d extrusionH="254000"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300" b="1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чреждения 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300" b="1" dirty="0" err="1" smtClean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офессио-нального</a:t>
              </a:r>
              <a:r>
                <a:rPr lang="ru-RU" sz="13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endParaRPr lang="ru-RU" sz="13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300" b="1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бразования</a:t>
              </a:r>
            </a:p>
          </p:txBody>
        </p:sp>
      </p:grpSp>
      <p:grpSp>
        <p:nvGrpSpPr>
          <p:cNvPr id="14343" name="Группа 15"/>
          <p:cNvGrpSpPr>
            <a:grpSpLocks/>
          </p:cNvGrpSpPr>
          <p:nvPr/>
        </p:nvGrpSpPr>
        <p:grpSpPr bwMode="auto">
          <a:xfrm>
            <a:off x="6092825" y="3417888"/>
            <a:ext cx="1638300" cy="1625600"/>
            <a:chOff x="6147186" y="3561278"/>
            <a:chExt cx="1637325" cy="1625610"/>
          </a:xfrm>
        </p:grpSpPr>
        <p:sp>
          <p:nvSpPr>
            <p:cNvPr id="63" name="Oval 33"/>
            <p:cNvSpPr/>
            <p:nvPr/>
          </p:nvSpPr>
          <p:spPr>
            <a:xfrm>
              <a:off x="6147186" y="3561278"/>
              <a:ext cx="1637325" cy="1625610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 w="38100"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200">
                <a:latin typeface="+mj-lt"/>
              </a:endParaRPr>
            </a:p>
          </p:txBody>
        </p:sp>
        <p:sp>
          <p:nvSpPr>
            <p:cNvPr id="65" name="TextBox 59"/>
            <p:cNvSpPr txBox="1">
              <a:spLocks noChangeArrowheads="1"/>
            </p:cNvSpPr>
            <p:nvPr/>
          </p:nvSpPr>
          <p:spPr bwMode="auto">
            <a:xfrm>
              <a:off x="6362256" y="3896558"/>
              <a:ext cx="1273105" cy="892552"/>
            </a:xfrm>
            <a:prstGeom prst="rect">
              <a:avLst/>
            </a:prstGeom>
            <a:noFill/>
            <a:ln>
              <a:noFill/>
            </a:ln>
            <a:scene3d>
              <a:camera prst="orthographicFront"/>
              <a:lightRig rig="threePt" dir="t"/>
            </a:scene3d>
            <a:sp3d extrusionH="254000"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300" b="1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рупные 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300" b="1" dirty="0" err="1" smtClean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оизвод</a:t>
              </a:r>
              <a:r>
                <a:rPr lang="ru-RU" sz="1300" b="1" dirty="0" smtClean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300" b="1" dirty="0" err="1" smtClean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твенные</a:t>
              </a:r>
              <a:endParaRPr lang="ru-RU" sz="13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300" b="1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едприятия</a:t>
              </a:r>
            </a:p>
          </p:txBody>
        </p:sp>
      </p:grpSp>
      <p:graphicFrame>
        <p:nvGraphicFramePr>
          <p:cNvPr id="14344" name="Объект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2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defRPr/>
            </a:pPr>
            <a:endParaRPr lang="ru-RU" sz="1400" b="1">
              <a:latin typeface="Arial"/>
              <a:cs typeface="Arial"/>
              <a:sym typeface="Arial"/>
            </a:endParaRPr>
          </a:p>
        </p:txBody>
      </p:sp>
      <p:grpSp>
        <p:nvGrpSpPr>
          <p:cNvPr id="14348" name="Группа 18"/>
          <p:cNvGrpSpPr>
            <a:grpSpLocks/>
          </p:cNvGrpSpPr>
          <p:nvPr/>
        </p:nvGrpSpPr>
        <p:grpSpPr bwMode="auto">
          <a:xfrm>
            <a:off x="2987675" y="2117725"/>
            <a:ext cx="3421063" cy="3348038"/>
            <a:chOff x="3471926" y="2591021"/>
            <a:chExt cx="2980955" cy="2880000"/>
          </a:xfrm>
        </p:grpSpPr>
        <p:sp>
          <p:nvSpPr>
            <p:cNvPr id="39" name="Oval 41"/>
            <p:cNvSpPr/>
            <p:nvPr/>
          </p:nvSpPr>
          <p:spPr>
            <a:xfrm>
              <a:off x="3500975" y="2591021"/>
              <a:ext cx="2879976" cy="2880000"/>
            </a:xfrm>
            <a:prstGeom prst="ellipse">
              <a:avLst/>
            </a:prstGeom>
            <a:solidFill>
              <a:srgbClr val="C00000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  <p:sp>
          <p:nvSpPr>
            <p:cNvPr id="40" name="TextBox 57"/>
            <p:cNvSpPr txBox="1">
              <a:spLocks noChangeArrowheads="1"/>
            </p:cNvSpPr>
            <p:nvPr/>
          </p:nvSpPr>
          <p:spPr bwMode="auto">
            <a:xfrm>
              <a:off x="3471926" y="3080968"/>
              <a:ext cx="2980955" cy="1015663"/>
            </a:xfrm>
            <a:prstGeom prst="rect">
              <a:avLst/>
            </a:prstGeom>
            <a:noFill/>
            <a:ln>
              <a:noFill/>
            </a:ln>
            <a:effectLst/>
            <a:scene3d>
              <a:camera prst="orthographicFront"/>
              <a:lightRig rig="threePt" dir="t"/>
            </a:scene3d>
            <a:sp3d extrusionH="254000"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algn="ctr">
                <a:defRPr/>
              </a:pPr>
              <a:r>
                <a:rPr lang="ru-RU" sz="2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чебно-производственный полигон</a:t>
              </a:r>
              <a:endPara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Oval 43"/>
            <p:cNvSpPr/>
            <p:nvPr/>
          </p:nvSpPr>
          <p:spPr>
            <a:xfrm>
              <a:off x="3626853" y="2716654"/>
              <a:ext cx="2628220" cy="2628734"/>
            </a:xfrm>
            <a:prstGeom prst="ellipse">
              <a:avLst/>
            </a:prstGeom>
            <a:no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pic>
        <p:nvPicPr>
          <p:cNvPr id="14361" name="Picture 2" descr="F:\ХТП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5513" y="5762625"/>
            <a:ext cx="1879600" cy="927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62" name="Рисунок 7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3950" y="5843588"/>
            <a:ext cx="1878013" cy="846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4" name="Rectangle 23"/>
          <p:cNvSpPr>
            <a:spLocks noChangeArrowheads="1"/>
          </p:cNvSpPr>
          <p:nvPr/>
        </p:nvSpPr>
        <p:spPr bwMode="auto">
          <a:xfrm>
            <a:off x="-4295775" y="804863"/>
            <a:ext cx="3384550" cy="13843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prstShdw prst="shdw13" dist="53882" dir="13500000">
              <a:schemeClr val="bg2">
                <a:alpha val="50000"/>
              </a:schemeClr>
            </a:prstShdw>
          </a:effectLst>
          <a:extLst/>
        </p:spPr>
        <p:txBody>
          <a:bodyPr>
            <a:spAutoFit/>
          </a:bodyPr>
          <a:lstStyle/>
          <a:p>
            <a:pPr algn="just">
              <a:defRPr/>
            </a:pPr>
            <a:r>
              <a:rPr lang="ru-RU" sz="1200" b="1" dirty="0">
                <a:solidFill>
                  <a:srgbClr val="003366"/>
                </a:solidFill>
                <a:latin typeface="Arial Narrow" pitchFamily="34" charset="0"/>
                <a:cs typeface="Arial" charset="0"/>
              </a:rPr>
              <a:t>Полигон</a:t>
            </a:r>
            <a:r>
              <a:rPr lang="ru-RU" sz="1200" b="1" dirty="0">
                <a:solidFill>
                  <a:srgbClr val="000000"/>
                </a:solidFill>
                <a:latin typeface="Arial Narrow" pitchFamily="34" charset="0"/>
                <a:cs typeface="Arial" charset="0"/>
              </a:rPr>
              <a:t> – это площадка, на которой сосредоточены производственные ресурсы  для приобретения и отработки практических навыков и умений, что позволяет готовить конкурентоспособные  кадры, соответствующие требованиям заказчика и адаптированные к  современным производственным условиям</a:t>
            </a:r>
          </a:p>
        </p:txBody>
      </p:sp>
      <p:sp>
        <p:nvSpPr>
          <p:cNvPr id="75" name="Овал 74"/>
          <p:cNvSpPr/>
          <p:nvPr/>
        </p:nvSpPr>
        <p:spPr>
          <a:xfrm>
            <a:off x="2741613" y="5418138"/>
            <a:ext cx="252412" cy="252412"/>
          </a:xfrm>
          <a:prstGeom prst="ellipse">
            <a:avLst/>
          </a:prstGeom>
          <a:solidFill>
            <a:srgbClr val="C0000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2" tIns="45680" rIns="91352" bIns="4568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76" name="Овал 75"/>
          <p:cNvSpPr/>
          <p:nvPr/>
        </p:nvSpPr>
        <p:spPr>
          <a:xfrm>
            <a:off x="4516438" y="6015038"/>
            <a:ext cx="252412" cy="252412"/>
          </a:xfrm>
          <a:prstGeom prst="ellipse">
            <a:avLst/>
          </a:prstGeom>
          <a:solidFill>
            <a:srgbClr val="C0000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2" tIns="45680" rIns="91352" bIns="4568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77" name="Овал 76"/>
          <p:cNvSpPr/>
          <p:nvPr/>
        </p:nvSpPr>
        <p:spPr>
          <a:xfrm>
            <a:off x="6234113" y="5430838"/>
            <a:ext cx="252412" cy="252412"/>
          </a:xfrm>
          <a:prstGeom prst="ellipse">
            <a:avLst/>
          </a:prstGeom>
          <a:solidFill>
            <a:srgbClr val="C00000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2" tIns="45680" rIns="91352" bIns="4568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cxnSp>
        <p:nvCxnSpPr>
          <p:cNvPr id="81" name="Прямая соединительная линия 80"/>
          <p:cNvCxnSpPr>
            <a:stCxn id="77" idx="1"/>
            <a:endCxn id="39" idx="5"/>
          </p:cNvCxnSpPr>
          <p:nvPr/>
        </p:nvCxnSpPr>
        <p:spPr>
          <a:xfrm flipH="1" flipV="1">
            <a:off x="5842000" y="4975225"/>
            <a:ext cx="428625" cy="492125"/>
          </a:xfrm>
          <a:prstGeom prst="line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84" name="Прямая соединительная линия 83"/>
          <p:cNvCxnSpPr>
            <a:stCxn id="76" idx="0"/>
            <a:endCxn id="39" idx="4"/>
          </p:cNvCxnSpPr>
          <p:nvPr/>
        </p:nvCxnSpPr>
        <p:spPr>
          <a:xfrm flipV="1">
            <a:off x="4643438" y="5465763"/>
            <a:ext cx="30162" cy="549275"/>
          </a:xfrm>
          <a:prstGeom prst="line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4369" name="Text Box 7"/>
          <p:cNvSpPr txBox="1">
            <a:spLocks noChangeArrowheads="1"/>
          </p:cNvSpPr>
          <p:nvPr/>
        </p:nvSpPr>
        <p:spPr bwMode="auto">
          <a:xfrm>
            <a:off x="3349625" y="3859213"/>
            <a:ext cx="2697163" cy="1092200"/>
          </a:xfrm>
          <a:prstGeom prst="rect">
            <a:avLst/>
          </a:prstGeom>
          <a:noFill/>
          <a:ln>
            <a:noFill/>
          </a:ln>
          <a:effectLst>
            <a:prstShdw prst="shdw13" dist="53882" dir="13500000">
              <a:schemeClr val="bg2">
                <a:alpha val="50000"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sz="1300" b="1">
                <a:solidFill>
                  <a:srgbClr val="FFFFFF"/>
                </a:solidFill>
                <a:latin typeface="Arial" pitchFamily="34" charset="0"/>
                <a:ea typeface="MS PGothic" pitchFamily="34" charset="-128"/>
              </a:rPr>
              <a:t>Цель – повышение качества подготовки и конкурентоспособности выпускников учреждений для предприятий города</a:t>
            </a:r>
          </a:p>
        </p:txBody>
      </p:sp>
      <p:sp>
        <p:nvSpPr>
          <p:cNvPr id="43" name="Номер слайда 2"/>
          <p:cNvSpPr txBox="1">
            <a:spLocks/>
          </p:cNvSpPr>
          <p:nvPr/>
        </p:nvSpPr>
        <p:spPr>
          <a:xfrm>
            <a:off x="53975" y="6446838"/>
            <a:ext cx="487363" cy="366712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>
              <a:defRPr/>
            </a:pPr>
            <a:fld id="{68A1D787-7CDB-4129-B41F-1B529E380C07}" type="slidenum">
              <a:rPr lang="ru-RU" sz="2000" b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/>
              </a:pPr>
              <a:t>11</a:t>
            </a:fld>
            <a:endParaRPr 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Прямоугольник 1"/>
          <p:cNvSpPr>
            <a:spLocks noChangeArrowheads="1"/>
          </p:cNvSpPr>
          <p:nvPr/>
        </p:nvSpPr>
        <p:spPr bwMode="auto">
          <a:xfrm>
            <a:off x="603052" y="293167"/>
            <a:ext cx="8505452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altLang="ru-RU" sz="1700" b="1" dirty="0">
                <a:latin typeface="Arial" pitchFamily="34" charset="0"/>
              </a:rPr>
              <a:t>Инвестиции в подготовку профессиональных кадров: модель учебно-производственного полигона</a:t>
            </a:r>
          </a:p>
        </p:txBody>
      </p:sp>
      <p:sp>
        <p:nvSpPr>
          <p:cNvPr id="46" name="Title 2"/>
          <p:cNvSpPr txBox="1">
            <a:spLocks/>
          </p:cNvSpPr>
          <p:nvPr/>
        </p:nvSpPr>
        <p:spPr bwMode="auto">
          <a:xfrm>
            <a:off x="631517" y="93961"/>
            <a:ext cx="8512483" cy="1666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ru-RU" altLang="ru-RU" sz="1200" b="1" dirty="0" smtClean="0"/>
              <a:t>ПРАКТИКИ МУНИЦИПАЛЬНОГО ОБРАЗОВАНИЯ «ГОРОД ЧЕРЕПОВЕЦ»</a:t>
            </a:r>
            <a:endParaRPr lang="ru-RU" altLang="ru-RU" sz="1200" b="1" dirty="0"/>
          </a:p>
        </p:txBody>
      </p:sp>
    </p:spTree>
    <p:extLst>
      <p:ext uri="{BB962C8B-B14F-4D97-AF65-F5344CB8AC3E}">
        <p14:creationId xmlns:p14="http://schemas.microsoft.com/office/powerpoint/2010/main" val="1176078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"/>
          <p:cNvSpPr>
            <a:spLocks noChangeArrowheads="1"/>
          </p:cNvSpPr>
          <p:nvPr/>
        </p:nvSpPr>
        <p:spPr bwMode="auto">
          <a:xfrm>
            <a:off x="960242" y="455993"/>
            <a:ext cx="7683724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altLang="ru-RU" sz="17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Череповец признан </a:t>
            </a:r>
            <a:r>
              <a:rPr lang="ru-RU" altLang="ru-RU" sz="17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пилотным</a:t>
            </a:r>
            <a:r>
              <a:rPr lang="ru-RU" altLang="ru-RU" sz="17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городом по внедрению муниципального инвестиционного стандарта  (АСИ)</a:t>
            </a:r>
          </a:p>
        </p:txBody>
      </p:sp>
      <p:sp>
        <p:nvSpPr>
          <p:cNvPr id="14" name="Title 2"/>
          <p:cNvSpPr txBox="1">
            <a:spLocks/>
          </p:cNvSpPr>
          <p:nvPr/>
        </p:nvSpPr>
        <p:spPr bwMode="auto">
          <a:xfrm>
            <a:off x="631517" y="93961"/>
            <a:ext cx="8512483" cy="1661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ru-RU" altLang="ru-RU" sz="1200" b="1" dirty="0" smtClean="0"/>
              <a:t>ТИРАЖИРОВАНИЕ ЛУЧШИХ ПРАКТИК</a:t>
            </a:r>
          </a:p>
        </p:txBody>
      </p:sp>
      <p:sp>
        <p:nvSpPr>
          <p:cNvPr id="16" name="Номер слайда 2"/>
          <p:cNvSpPr txBox="1">
            <a:spLocks/>
          </p:cNvSpPr>
          <p:nvPr/>
        </p:nvSpPr>
        <p:spPr>
          <a:xfrm>
            <a:off x="53794" y="6446663"/>
            <a:ext cx="487363" cy="366713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>
              <a:defRPr/>
            </a:pPr>
            <a:fld id="{C45D8568-3546-4613-9456-5AC0D6096D5C}" type="slidenum">
              <a:rPr lang="ru-RU" sz="2000" b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/>
              </a:pPr>
              <a:t>12</a:t>
            </a:fld>
            <a:endParaRPr 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Прямоугольник 32"/>
          <p:cNvSpPr/>
          <p:nvPr>
            <p:custDataLst>
              <p:tags r:id="rId1"/>
            </p:custDataLst>
          </p:nvPr>
        </p:nvSpPr>
        <p:spPr>
          <a:xfrm>
            <a:off x="720759" y="2462213"/>
            <a:ext cx="8208959" cy="10064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Прямоугольник 33"/>
          <p:cNvSpPr/>
          <p:nvPr>
            <p:custDataLst>
              <p:tags r:id="rId2"/>
            </p:custDataLst>
          </p:nvPr>
        </p:nvSpPr>
        <p:spPr bwMode="auto">
          <a:xfrm>
            <a:off x="785786" y="5573713"/>
            <a:ext cx="2596238" cy="1095375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6200" tIns="76200" rIns="76200" bIns="76200" spcCol="1270"/>
          <a:lstStyle/>
          <a:p>
            <a:pPr defTabSz="889000" fontAlgn="auto">
              <a:lnSpc>
                <a:spcPct val="90000"/>
              </a:lnSpc>
              <a:spcAft>
                <a:spcPts val="0"/>
              </a:spcAft>
              <a:defRPr/>
            </a:pP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мальный набор требований для организации взаимодействия органов местного самоуправления с инвесторами</a:t>
            </a:r>
          </a:p>
        </p:txBody>
      </p:sp>
      <p:sp>
        <p:nvSpPr>
          <p:cNvPr id="35" name="Прямоугольник 34"/>
          <p:cNvSpPr/>
          <p:nvPr>
            <p:custDataLst>
              <p:tags r:id="rId3"/>
            </p:custDataLst>
          </p:nvPr>
        </p:nvSpPr>
        <p:spPr bwMode="auto">
          <a:xfrm>
            <a:off x="3514656" y="5588000"/>
            <a:ext cx="2599176" cy="1081088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6200" tIns="76200" rIns="76200" bIns="76200" spcCol="1270"/>
          <a:lstStyle/>
          <a:p>
            <a:pPr defTabSz="889000" fontAlgn="auto">
              <a:lnSpc>
                <a:spcPct val="90000"/>
              </a:lnSpc>
              <a:spcAft>
                <a:spcPts val="0"/>
              </a:spcAft>
              <a:defRPr/>
            </a:pP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вила работы с институтами развития и финансовыми институтами</a:t>
            </a:r>
          </a:p>
        </p:txBody>
      </p:sp>
      <p:sp>
        <p:nvSpPr>
          <p:cNvPr id="36" name="Прямоугольник 35"/>
          <p:cNvSpPr/>
          <p:nvPr>
            <p:custDataLst>
              <p:tags r:id="rId4"/>
            </p:custDataLst>
          </p:nvPr>
        </p:nvSpPr>
        <p:spPr bwMode="auto">
          <a:xfrm>
            <a:off x="6300738" y="5591175"/>
            <a:ext cx="2613869" cy="1077913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6200" tIns="76200" rIns="76200" bIns="76200" spcCol="1270"/>
          <a:lstStyle/>
          <a:p>
            <a:pPr defTabSz="889000" fontAlgn="auto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ы, направленные на сокращение сроков разрешительных процедур</a:t>
            </a:r>
          </a:p>
        </p:txBody>
      </p:sp>
      <p:sp>
        <p:nvSpPr>
          <p:cNvPr id="37" name="Прямоугольник 36"/>
          <p:cNvSpPr/>
          <p:nvPr>
            <p:custDataLst>
              <p:tags r:id="rId5"/>
            </p:custDataLst>
          </p:nvPr>
        </p:nvSpPr>
        <p:spPr>
          <a:xfrm>
            <a:off x="720759" y="1341438"/>
            <a:ext cx="8208959" cy="93503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Прямоугольник 117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204946" y="1484313"/>
            <a:ext cx="7653334" cy="674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altLang="ru-RU" sz="1400" dirty="0">
                <a:latin typeface="Arial" pitchFamily="34" charset="0"/>
                <a:cs typeface="Tahoma" pitchFamily="34" charset="0"/>
              </a:rPr>
              <a:t>20 сентября 2013 г. на Межрегиональном Форуме «Территория бизнеса – территория жизни» в г. Петрозаводске было принято решение о реализации </a:t>
            </a:r>
            <a:r>
              <a:rPr lang="ru-RU" altLang="ru-RU" sz="1400" dirty="0" err="1">
                <a:latin typeface="Arial" pitchFamily="34" charset="0"/>
                <a:cs typeface="Tahoma" pitchFamily="34" charset="0"/>
              </a:rPr>
              <a:t>пилотного</a:t>
            </a:r>
            <a:r>
              <a:rPr lang="ru-RU" altLang="ru-RU" sz="1400" dirty="0">
                <a:latin typeface="Arial" pitchFamily="34" charset="0"/>
                <a:cs typeface="Tahoma" pitchFamily="34" charset="0"/>
              </a:rPr>
              <a:t> проекта по внедрению стандарта АСИ в 4-х городах страны, в число которых вошел Череповец.</a:t>
            </a:r>
          </a:p>
        </p:txBody>
      </p:sp>
      <p:grpSp>
        <p:nvGrpSpPr>
          <p:cNvPr id="39" name="Группа 85"/>
          <p:cNvGrpSpPr/>
          <p:nvPr>
            <p:custDataLst>
              <p:tags r:id="rId7"/>
            </p:custDataLst>
          </p:nvPr>
        </p:nvGrpSpPr>
        <p:grpSpPr>
          <a:xfrm>
            <a:off x="700816" y="1340768"/>
            <a:ext cx="431751" cy="256087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40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endParaRPr>
            </a:p>
          </p:txBody>
        </p:sp>
        <p:sp>
          <p:nvSpPr>
            <p:cNvPr id="41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42" name="Группа 88"/>
          <p:cNvGrpSpPr/>
          <p:nvPr>
            <p:custDataLst>
              <p:tags r:id="rId8"/>
            </p:custDataLst>
          </p:nvPr>
        </p:nvGrpSpPr>
        <p:grpSpPr>
          <a:xfrm>
            <a:off x="700816" y="2460885"/>
            <a:ext cx="431751" cy="256087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43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endParaRPr>
            </a:p>
          </p:txBody>
        </p:sp>
        <p:sp>
          <p:nvSpPr>
            <p:cNvPr id="44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45" name="Равнобедренный треугольник 44"/>
          <p:cNvSpPr/>
          <p:nvPr/>
        </p:nvSpPr>
        <p:spPr>
          <a:xfrm flipV="1">
            <a:off x="844584" y="3862388"/>
            <a:ext cx="8285162" cy="142875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46" name="Picture 4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812773" y="4116388"/>
            <a:ext cx="2565383" cy="1455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7" name="Picture 5"/>
          <p:cNvPicPr>
            <a:picLocks noChangeAspect="1" noChangeArrowheads="1"/>
          </p:cNvPicPr>
          <p:nvPr/>
        </p:nvPicPr>
        <p:blipFill>
          <a:blip r:embed="rId12"/>
          <a:srcRect l="661" t="10881"/>
          <a:stretch>
            <a:fillRect/>
          </a:stretch>
        </p:blipFill>
        <p:spPr bwMode="auto">
          <a:xfrm>
            <a:off x="3536881" y="4116388"/>
            <a:ext cx="2599176" cy="147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8" name="Picture 6"/>
          <p:cNvPicPr>
            <a:picLocks noChangeAspect="1" noChangeArrowheads="1"/>
          </p:cNvPicPr>
          <p:nvPr/>
        </p:nvPicPr>
        <p:blipFill>
          <a:blip r:embed="rId13"/>
          <a:srcRect t="13062"/>
          <a:stretch>
            <a:fillRect/>
          </a:stretch>
        </p:blipFill>
        <p:spPr bwMode="auto">
          <a:xfrm>
            <a:off x="6305500" y="4132263"/>
            <a:ext cx="2605054" cy="1439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9" name="Picture 3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7715272" y="2417763"/>
            <a:ext cx="1263650" cy="1298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0" name="Прямоугольник 117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204946" y="2500306"/>
            <a:ext cx="6386803" cy="9510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altLang="ru-RU" sz="1400" dirty="0">
                <a:latin typeface="Arial" pitchFamily="34" charset="0"/>
                <a:cs typeface="Tahoma" pitchFamily="34" charset="0"/>
              </a:rPr>
              <a:t>В сборник успешных практик, направленных на развитие территорий и улучшение </a:t>
            </a:r>
            <a:r>
              <a:rPr lang="ru-RU" altLang="ru-RU" sz="1400" dirty="0" err="1">
                <a:latin typeface="Arial" pitchFamily="34" charset="0"/>
                <a:cs typeface="Tahoma" pitchFamily="34" charset="0"/>
              </a:rPr>
              <a:t>бизнес-среды</a:t>
            </a:r>
            <a:r>
              <a:rPr lang="ru-RU" altLang="ru-RU" sz="1400" dirty="0">
                <a:latin typeface="Arial" pitchFamily="34" charset="0"/>
                <a:cs typeface="Tahoma" pitchFamily="34" charset="0"/>
              </a:rPr>
              <a:t> на муниципальном уровне «Атлас муниципальных практик», вошло</a:t>
            </a:r>
            <a:r>
              <a:rPr lang="ru-RU" altLang="ru-RU" sz="2000" b="1" dirty="0">
                <a:solidFill>
                  <a:srgbClr val="C00000"/>
                </a:solidFill>
                <a:latin typeface="Arial" pitchFamily="34" charset="0"/>
                <a:cs typeface="Tahoma" pitchFamily="34" charset="0"/>
              </a:rPr>
              <a:t> </a:t>
            </a:r>
            <a:r>
              <a:rPr lang="ru-RU" altLang="ru-RU" sz="1600" b="1" dirty="0">
                <a:solidFill>
                  <a:srgbClr val="C00000"/>
                </a:solidFill>
                <a:latin typeface="Arial" pitchFamily="34" charset="0"/>
                <a:cs typeface="Tahoma" pitchFamily="34" charset="0"/>
              </a:rPr>
              <a:t>8</a:t>
            </a:r>
            <a:r>
              <a:rPr lang="ru-RU" altLang="ru-RU" sz="2000" b="1" dirty="0">
                <a:solidFill>
                  <a:srgbClr val="C00000"/>
                </a:solidFill>
                <a:latin typeface="Arial" pitchFamily="34" charset="0"/>
                <a:cs typeface="Tahoma" pitchFamily="34" charset="0"/>
              </a:rPr>
              <a:t> </a:t>
            </a:r>
            <a:r>
              <a:rPr lang="ru-RU" altLang="ru-RU" sz="1400" dirty="0">
                <a:latin typeface="Arial" pitchFamily="34" charset="0"/>
                <a:cs typeface="Tahoma" pitchFamily="34" charset="0"/>
              </a:rPr>
              <a:t>(из 30) практик г. Череповца по следующим направлениям:</a:t>
            </a:r>
          </a:p>
        </p:txBody>
      </p:sp>
      <p:pic>
        <p:nvPicPr>
          <p:cNvPr id="51" name="Picture 8" descr="&amp;Pcy;&amp;ucy;&amp;tcy;&amp;icy;&amp;ncy; &amp;scy;&amp;mcy;&amp;ocy;&amp;zhcy;&amp;iecy;&amp;tcy; &amp;scy;&amp;ocy;&amp;khcy;&amp;rcy;&amp;acy;&amp;ncy;&amp;icy;&amp;tcy;&amp;softcy; &amp;pcy;&amp;ocy;&amp;scy;&amp;tcy; &amp;gcy;&amp;lcy;&amp;acy;&amp;vcy;&amp;ycy; &amp;ncy;&amp;acy;&amp;bcy;&amp;scy;&amp;ocy;&amp;vcy;&amp;iecy;&amp;tcy;&amp;acy; &amp;Acy;&amp;Scy;&amp;Icy; &amp;Ncy;&amp;ocy;&amp;vcy;&amp;ocy;&amp;scy;&amp;tcy;&amp;icy;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7781925" y="339725"/>
            <a:ext cx="1362075" cy="85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019518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Прямоугольник 107"/>
          <p:cNvSpPr/>
          <p:nvPr/>
        </p:nvSpPr>
        <p:spPr>
          <a:xfrm>
            <a:off x="6567983" y="1428340"/>
            <a:ext cx="2453877" cy="624582"/>
          </a:xfrm>
          <a:prstGeom prst="rect">
            <a:avLst/>
          </a:prstGeom>
          <a:solidFill>
            <a:schemeClr val="bg1">
              <a:lumMod val="9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09" name="Прямоугольник 108"/>
          <p:cNvSpPr/>
          <p:nvPr/>
        </p:nvSpPr>
        <p:spPr>
          <a:xfrm>
            <a:off x="2921820" y="1428340"/>
            <a:ext cx="2336022" cy="624582"/>
          </a:xfrm>
          <a:prstGeom prst="rect">
            <a:avLst/>
          </a:prstGeom>
          <a:solidFill>
            <a:schemeClr val="bg1">
              <a:lumMod val="95000"/>
              <a:alpha val="5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7" name="Номер слайда 2"/>
          <p:cNvSpPr txBox="1">
            <a:spLocks/>
          </p:cNvSpPr>
          <p:nvPr/>
        </p:nvSpPr>
        <p:spPr>
          <a:xfrm>
            <a:off x="53794" y="6446663"/>
            <a:ext cx="487363" cy="366713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>
              <a:defRPr/>
            </a:pPr>
            <a:fld id="{C45D8568-3546-4613-9456-5AC0D6096D5C}" type="slidenum">
              <a:rPr lang="ru-RU" sz="2000" b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/>
              </a:pPr>
              <a:t>2</a:t>
            </a:fld>
            <a:endParaRPr 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Прямоугольник 1"/>
          <p:cNvSpPr>
            <a:spLocks noChangeArrowheads="1"/>
          </p:cNvSpPr>
          <p:nvPr/>
        </p:nvSpPr>
        <p:spPr bwMode="auto">
          <a:xfrm>
            <a:off x="603052" y="404664"/>
            <a:ext cx="8505452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altLang="ru-RU" sz="17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 целью содействия экономическому развитию МО на основе ГЧП в Череповце действует два института развития бизнеса</a:t>
            </a:r>
          </a:p>
        </p:txBody>
      </p:sp>
      <p:sp>
        <p:nvSpPr>
          <p:cNvPr id="103" name="Прямоугольник 102"/>
          <p:cNvSpPr/>
          <p:nvPr/>
        </p:nvSpPr>
        <p:spPr>
          <a:xfrm>
            <a:off x="603052" y="2636912"/>
            <a:ext cx="1180494" cy="4221088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Прямоугольник 45"/>
          <p:cNvSpPr>
            <a:spLocks noChangeArrowheads="1"/>
          </p:cNvSpPr>
          <p:nvPr/>
        </p:nvSpPr>
        <p:spPr bwMode="auto">
          <a:xfrm>
            <a:off x="2339975" y="1249884"/>
            <a:ext cx="6538913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/>
          <a:lstStyle/>
          <a:p>
            <a:endParaRPr lang="ru-RU" altLang="ru-RU" sz="1600" b="1">
              <a:latin typeface="Tahoma" pitchFamily="34" charset="0"/>
              <a:cs typeface="Tahoma" pitchFamily="34" charset="0"/>
            </a:endParaRPr>
          </a:p>
        </p:txBody>
      </p:sp>
      <p:sp>
        <p:nvSpPr>
          <p:cNvPr id="66" name="Прямоугольник 31"/>
          <p:cNvSpPr>
            <a:spLocks noChangeArrowheads="1"/>
          </p:cNvSpPr>
          <p:nvPr/>
        </p:nvSpPr>
        <p:spPr bwMode="auto">
          <a:xfrm>
            <a:off x="2627784" y="1428340"/>
            <a:ext cx="2900835" cy="6324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300" b="1" dirty="0">
                <a:latin typeface="Arial" pitchFamily="34" charset="0"/>
                <a:cs typeface="Tahoma" pitchFamily="34" charset="0"/>
              </a:rPr>
              <a:t>НП </a:t>
            </a:r>
            <a:endParaRPr lang="ru-RU" altLang="ru-RU" sz="1300" b="1" dirty="0" smtClean="0">
              <a:latin typeface="Arial" pitchFamily="34" charset="0"/>
              <a:cs typeface="Tahoma" pitchFamily="34" charset="0"/>
            </a:endParaRPr>
          </a:p>
          <a:p>
            <a:pPr algn="ctr" eaLnBrk="1" hangingPunct="1">
              <a:lnSpc>
                <a:spcPct val="9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300" b="1" dirty="0" smtClean="0">
                <a:latin typeface="Arial" pitchFamily="34" charset="0"/>
                <a:cs typeface="Tahoma" pitchFamily="34" charset="0"/>
              </a:rPr>
              <a:t>«АГЕНТСТВО </a:t>
            </a:r>
            <a:endParaRPr lang="ru-RU" altLang="ru-RU" sz="1300" b="1" dirty="0">
              <a:latin typeface="Arial" pitchFamily="34" charset="0"/>
              <a:cs typeface="Tahoma" pitchFamily="34" charset="0"/>
            </a:endParaRPr>
          </a:p>
          <a:p>
            <a:pPr algn="ctr" eaLnBrk="1" hangingPunct="1">
              <a:lnSpc>
                <a:spcPct val="9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300" b="1" dirty="0">
                <a:latin typeface="Arial" pitchFamily="34" charset="0"/>
                <a:cs typeface="Tahoma" pitchFamily="34" charset="0"/>
              </a:rPr>
              <a:t>ГОРОДСКОГО РАЗВИТИЯ» </a:t>
            </a:r>
            <a:r>
              <a:rPr lang="ru-RU" altLang="ru-RU" sz="1300" b="1" dirty="0" smtClean="0">
                <a:latin typeface="Arial" pitchFamily="34" charset="0"/>
                <a:cs typeface="Tahoma" pitchFamily="34" charset="0"/>
              </a:rPr>
              <a:t> </a:t>
            </a:r>
            <a:endParaRPr lang="ru-RU" altLang="ru-RU" sz="1300" b="1" dirty="0">
              <a:latin typeface="Arial" pitchFamily="34" charset="0"/>
              <a:cs typeface="Tahoma" pitchFamily="34" charset="0"/>
            </a:endParaRPr>
          </a:p>
        </p:txBody>
      </p:sp>
      <p:sp>
        <p:nvSpPr>
          <p:cNvPr id="76" name="Прямоугольник 31"/>
          <p:cNvSpPr>
            <a:spLocks noChangeArrowheads="1"/>
          </p:cNvSpPr>
          <p:nvPr/>
        </p:nvSpPr>
        <p:spPr bwMode="auto">
          <a:xfrm>
            <a:off x="6376342" y="1433102"/>
            <a:ext cx="2948186" cy="6324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300" b="1" dirty="0">
                <a:latin typeface="Arial" pitchFamily="34" charset="0"/>
                <a:cs typeface="Tahoma" pitchFamily="34" charset="0"/>
              </a:rPr>
              <a:t>АНО </a:t>
            </a:r>
            <a:endParaRPr lang="ru-RU" altLang="ru-RU" sz="1300" b="1" dirty="0" smtClean="0">
              <a:latin typeface="Arial" pitchFamily="34" charset="0"/>
              <a:cs typeface="Tahoma" pitchFamily="34" charset="0"/>
            </a:endParaRPr>
          </a:p>
          <a:p>
            <a:pPr algn="ctr" eaLnBrk="1" hangingPunct="1">
              <a:lnSpc>
                <a:spcPct val="9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300" b="1" dirty="0" smtClean="0">
                <a:latin typeface="Arial" pitchFamily="34" charset="0"/>
                <a:cs typeface="Tahoma" pitchFamily="34" charset="0"/>
              </a:rPr>
              <a:t>«</a:t>
            </a:r>
            <a:r>
              <a:rPr lang="ru-RU" altLang="ru-RU" sz="1300" b="1" dirty="0">
                <a:latin typeface="Arial" pitchFamily="34" charset="0"/>
                <a:cs typeface="Tahoma" pitchFamily="34" charset="0"/>
              </a:rPr>
              <a:t>ИНВЕСТИЦИОННОЕ АГЕНТСТВО «ЧЕРЕПОВЕЦ</a:t>
            </a:r>
            <a:r>
              <a:rPr lang="ru-RU" altLang="ru-RU" sz="1300" b="1" dirty="0" smtClean="0">
                <a:latin typeface="Arial" pitchFamily="34" charset="0"/>
                <a:cs typeface="Tahoma" pitchFamily="34" charset="0"/>
              </a:rPr>
              <a:t>»</a:t>
            </a:r>
            <a:endParaRPr lang="ru-RU" altLang="ru-RU" sz="1300" b="1" dirty="0">
              <a:latin typeface="Arial" pitchFamily="34" charset="0"/>
              <a:cs typeface="Tahoma" pitchFamily="34" charset="0"/>
            </a:endParaRPr>
          </a:p>
        </p:txBody>
      </p:sp>
      <p:sp>
        <p:nvSpPr>
          <p:cNvPr id="77" name="Овал 76"/>
          <p:cNvSpPr/>
          <p:nvPr/>
        </p:nvSpPr>
        <p:spPr>
          <a:xfrm>
            <a:off x="3060526" y="2780928"/>
            <a:ext cx="1028700" cy="369888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8" name="Прямоугольник 2"/>
          <p:cNvSpPr>
            <a:spLocks noChangeArrowheads="1"/>
          </p:cNvSpPr>
          <p:nvPr/>
        </p:nvSpPr>
        <p:spPr bwMode="auto">
          <a:xfrm>
            <a:off x="3060526" y="2853953"/>
            <a:ext cx="1028700" cy="27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lnSpc>
                <a:spcPct val="70000"/>
              </a:lnSpc>
            </a:pPr>
            <a:r>
              <a:rPr lang="ru-RU" altLang="ru-RU" sz="1700" b="1">
                <a:solidFill>
                  <a:srgbClr val="800000"/>
                </a:solidFill>
              </a:rPr>
              <a:t>1999 г.</a:t>
            </a:r>
            <a:endParaRPr lang="ru-RU" altLang="ru-RU" sz="900" b="1">
              <a:solidFill>
                <a:srgbClr val="800000"/>
              </a:solidFill>
            </a:endParaRPr>
          </a:p>
        </p:txBody>
      </p:sp>
      <p:sp>
        <p:nvSpPr>
          <p:cNvPr id="79" name="Овал 78"/>
          <p:cNvSpPr/>
          <p:nvPr/>
        </p:nvSpPr>
        <p:spPr>
          <a:xfrm>
            <a:off x="6927676" y="2780928"/>
            <a:ext cx="1028700" cy="369888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0" name="Прямоугольник 2"/>
          <p:cNvSpPr>
            <a:spLocks noChangeArrowheads="1"/>
          </p:cNvSpPr>
          <p:nvPr/>
        </p:nvSpPr>
        <p:spPr bwMode="auto">
          <a:xfrm>
            <a:off x="6927676" y="2853953"/>
            <a:ext cx="1028700" cy="27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lnSpc>
                <a:spcPct val="70000"/>
              </a:lnSpc>
            </a:pPr>
            <a:r>
              <a:rPr lang="ru-RU" altLang="ru-RU" sz="1700" b="1">
                <a:solidFill>
                  <a:srgbClr val="800000"/>
                </a:solidFill>
              </a:rPr>
              <a:t>2010 г.</a:t>
            </a:r>
            <a:endParaRPr lang="ru-RU" altLang="ru-RU" sz="900" b="1">
              <a:solidFill>
                <a:srgbClr val="800000"/>
              </a:solidFill>
            </a:endParaRPr>
          </a:p>
        </p:txBody>
      </p:sp>
      <p:grpSp>
        <p:nvGrpSpPr>
          <p:cNvPr id="82" name="Группа 81"/>
          <p:cNvGrpSpPr/>
          <p:nvPr/>
        </p:nvGrpSpPr>
        <p:grpSpPr>
          <a:xfrm>
            <a:off x="1794738" y="4556510"/>
            <a:ext cx="288000" cy="180000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142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endParaRPr>
            </a:p>
          </p:txBody>
        </p:sp>
        <p:sp>
          <p:nvSpPr>
            <p:cNvPr id="143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144" name="Группа 143"/>
          <p:cNvGrpSpPr/>
          <p:nvPr/>
        </p:nvGrpSpPr>
        <p:grpSpPr>
          <a:xfrm>
            <a:off x="1794738" y="4891022"/>
            <a:ext cx="288000" cy="180000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145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endParaRPr>
            </a:p>
          </p:txBody>
        </p:sp>
        <p:sp>
          <p:nvSpPr>
            <p:cNvPr id="146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147" name="Группа 146"/>
          <p:cNvGrpSpPr/>
          <p:nvPr/>
        </p:nvGrpSpPr>
        <p:grpSpPr>
          <a:xfrm>
            <a:off x="1783546" y="5240606"/>
            <a:ext cx="288000" cy="180000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148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endParaRPr>
            </a:p>
          </p:txBody>
        </p:sp>
        <p:sp>
          <p:nvSpPr>
            <p:cNvPr id="149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150" name="Group 4"/>
          <p:cNvGrpSpPr>
            <a:grpSpLocks/>
          </p:cNvGrpSpPr>
          <p:nvPr/>
        </p:nvGrpSpPr>
        <p:grpSpPr bwMode="auto">
          <a:xfrm>
            <a:off x="1677838" y="2059509"/>
            <a:ext cx="7430666" cy="433387"/>
            <a:chOff x="261" y="973"/>
            <a:chExt cx="3127" cy="199"/>
          </a:xfrm>
        </p:grpSpPr>
        <p:grpSp>
          <p:nvGrpSpPr>
            <p:cNvPr id="151" name="Group 5"/>
            <p:cNvGrpSpPr>
              <a:grpSpLocks/>
            </p:cNvGrpSpPr>
            <p:nvPr/>
          </p:nvGrpSpPr>
          <p:grpSpPr bwMode="auto">
            <a:xfrm>
              <a:off x="261" y="973"/>
              <a:ext cx="1546" cy="199"/>
              <a:chOff x="218" y="973"/>
              <a:chExt cx="2537" cy="199"/>
            </a:xfrm>
          </p:grpSpPr>
          <p:sp>
            <p:nvSpPr>
              <p:cNvPr id="153" name="Line 7"/>
              <p:cNvSpPr>
                <a:spLocks noChangeShapeType="1"/>
              </p:cNvSpPr>
              <p:nvPr/>
            </p:nvSpPr>
            <p:spPr bwMode="auto">
              <a:xfrm>
                <a:off x="340" y="973"/>
                <a:ext cx="2415" cy="0"/>
              </a:xfrm>
              <a:prstGeom prst="line">
                <a:avLst/>
              </a:prstGeom>
              <a:noFill/>
              <a:ln w="28575">
                <a:solidFill>
                  <a:srgbClr val="C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154" name="Rectangle 8"/>
              <p:cNvSpPr>
                <a:spLocks noChangeArrowheads="1"/>
              </p:cNvSpPr>
              <p:nvPr/>
            </p:nvSpPr>
            <p:spPr bwMode="auto">
              <a:xfrm>
                <a:off x="218" y="1059"/>
                <a:ext cx="2416" cy="11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3810" tIns="0" rIns="3810" bIns="0">
                <a:spAutoFit/>
              </a:bodyPr>
              <a:lstStyle>
                <a:lvl1pPr marL="342900" indent="-342900" defTabSz="895350" eaLnBrk="0" hangingPunct="0">
                  <a:defRPr sz="1600">
                    <a:solidFill>
                      <a:schemeClr val="tx1"/>
                    </a:solidFill>
                    <a:latin typeface="Arial" charset="0"/>
                  </a:defRPr>
                </a:lvl1pPr>
                <a:lvl2pPr marL="193675" indent="-192088" defTabSz="895350" eaLnBrk="0" hangingPunct="0">
                  <a:defRPr sz="16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895350" eaLnBrk="0" hangingPunct="0">
                  <a:defRPr sz="16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895350" eaLnBrk="0" hangingPunct="0">
                  <a:defRPr sz="16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895350" eaLnBrk="0" hangingPunct="0">
                  <a:defRPr sz="16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marL="0" indent="0">
                  <a:lnSpc>
                    <a:spcPct val="90000"/>
                  </a:lnSpc>
                  <a:defRPr/>
                </a:pPr>
                <a:endParaRPr lang="ru-RU" altLang="ru-RU" sz="13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</a:endParaRPr>
              </a:p>
            </p:txBody>
          </p:sp>
        </p:grpSp>
        <p:sp>
          <p:nvSpPr>
            <p:cNvPr id="152" name="Line 11"/>
            <p:cNvSpPr>
              <a:spLocks noChangeShapeType="1"/>
            </p:cNvSpPr>
            <p:nvPr/>
          </p:nvSpPr>
          <p:spPr bwMode="auto">
            <a:xfrm>
              <a:off x="1887" y="973"/>
              <a:ext cx="1501" cy="0"/>
            </a:xfrm>
            <a:prstGeom prst="line">
              <a:avLst/>
            </a:prstGeom>
            <a:noFill/>
            <a:ln w="28575">
              <a:solidFill>
                <a:srgbClr val="C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</p:grpSp>
      <p:graphicFrame>
        <p:nvGraphicFramePr>
          <p:cNvPr id="156" name="Таблица 1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0047571"/>
              </p:ext>
            </p:extLst>
          </p:nvPr>
        </p:nvGraphicFramePr>
        <p:xfrm>
          <a:off x="2119882" y="4589226"/>
          <a:ext cx="3227388" cy="2323542"/>
        </p:xfrm>
        <a:graphic>
          <a:graphicData uri="http://schemas.openxmlformats.org/drawingml/2006/table">
            <a:tbl>
              <a:tblPr/>
              <a:tblGrid>
                <a:gridCol w="3227388"/>
              </a:tblGrid>
              <a:tr h="2778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ahoma" pitchFamily="34" charset="0"/>
                        </a:rPr>
                        <a:t>ЦЕНТР БИЗНЕС-ОБРАЗОВАНИЯ</a:t>
                      </a:r>
                    </a:p>
                  </a:txBody>
                  <a:tcPr marT="45739" marB="45739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2778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ahoma" pitchFamily="34" charset="0"/>
                        </a:rPr>
                        <a:t>ЦЕНТР БИЗНЕС-КОНСАЛТИНГА</a:t>
                      </a:r>
                    </a:p>
                  </a:txBody>
                  <a:tcPr marT="45739" marB="45739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78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ahoma" pitchFamily="34" charset="0"/>
                        </a:rPr>
                        <a:t>ФИНАНСОВАЯ И ИМУЩЕСТВЕННАЯ ПОДДЕРЖКА</a:t>
                      </a:r>
                    </a:p>
                  </a:txBody>
                  <a:tcPr marT="45739" marB="45739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2778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ahoma" pitchFamily="34" charset="0"/>
                        </a:rPr>
                        <a:t>БИЗНЕС-ИНКУБАТОР</a:t>
                      </a:r>
                    </a:p>
                  </a:txBody>
                  <a:tcPr marT="45739" marB="45739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778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ahoma" pitchFamily="34" charset="0"/>
                        </a:rPr>
                        <a:t>МЕЖРЕГИОНАЛЬНОЕ И МУЖДУНАРОДНОЕ СОТРУДНИЧЕСТВО, «БИЗНЕС-МИССИИ»</a:t>
                      </a:r>
                    </a:p>
                  </a:txBody>
                  <a:tcPr marT="45739" marB="45739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6365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ahoma" pitchFamily="34" charset="0"/>
                        </a:rPr>
                        <a:t>РАЗВИТИЕ СОЦИАЛЬНОГО ПРЕДПРИНИМАТЕЛЬСТВА</a:t>
                      </a:r>
                    </a:p>
                  </a:txBody>
                  <a:tcPr marT="45739" marB="45739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57" name="Таблица 15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6354450"/>
              </p:ext>
            </p:extLst>
          </p:nvPr>
        </p:nvGraphicFramePr>
        <p:xfrm>
          <a:off x="5794945" y="4573351"/>
          <a:ext cx="3349055" cy="2161709"/>
        </p:xfrm>
        <a:graphic>
          <a:graphicData uri="http://schemas.openxmlformats.org/drawingml/2006/table">
            <a:tbl>
              <a:tblPr/>
              <a:tblGrid>
                <a:gridCol w="3349055"/>
              </a:tblGrid>
              <a:tr h="2682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ahoma" pitchFamily="34" charset="0"/>
                        </a:rPr>
                        <a:t>ТЕРРИТОРИАЛЬНОЕ РАЗВИТИЕ МО</a:t>
                      </a:r>
                    </a:p>
                  </a:txBody>
                  <a:tcPr marL="91454" marR="91454" marT="45695" marB="45695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2063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ahoma" pitchFamily="34" charset="0"/>
                        </a:rPr>
                        <a:t>ИНФОРМАЦИОННОЕ И НОРМАТИВНО-ПРАВОВОЕ ОБЕСПЕЧЕНИЕ</a:t>
                      </a:r>
                    </a:p>
                  </a:txBody>
                  <a:tcPr marL="91454" marR="91454" marT="45695" marB="45695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63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ahoma" pitchFamily="34" charset="0"/>
                        </a:rPr>
                        <a:t>ПРИВЛЕЧЕНИЕ ВНЕШНИХ ИНВЕСТИЦИИЙ</a:t>
                      </a:r>
                    </a:p>
                  </a:txBody>
                  <a:tcPr marL="91454" marR="91454" marT="45695" marB="45695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4524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ahoma" pitchFamily="34" charset="0"/>
                        </a:rPr>
                        <a:t>РАЗВИТИЕ И ПРИМЕНЕНИЕ ИНСТИТУТА ГЧП</a:t>
                      </a:r>
                    </a:p>
                  </a:txBody>
                  <a:tcPr marL="91454" marR="91454" marT="45695" marB="45695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86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ahoma" pitchFamily="34" charset="0"/>
                        </a:rPr>
                        <a:t>ИНВЕСТИЦИОННЫЙ МАРКЕТИНГ</a:t>
                      </a:r>
                    </a:p>
                  </a:txBody>
                  <a:tcPr marL="91454" marR="91454" marT="45695" marB="45695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2063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Tahoma" pitchFamily="34" charset="0"/>
                        </a:rPr>
                        <a:t>ПРОДВИЖЕНИЕ ИНВЕСТ. ПРОЕКТОВ И ВОЗМОЖНОСТЕЙ ГОРОДА</a:t>
                      </a:r>
                    </a:p>
                  </a:txBody>
                  <a:tcPr marL="91454" marR="91454" marT="45695" marB="45695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158" name="Группа 157"/>
          <p:cNvGrpSpPr/>
          <p:nvPr/>
        </p:nvGrpSpPr>
        <p:grpSpPr>
          <a:xfrm>
            <a:off x="1785593" y="5600646"/>
            <a:ext cx="288000" cy="180000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159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endParaRPr>
            </a:p>
          </p:txBody>
        </p:sp>
        <p:sp>
          <p:nvSpPr>
            <p:cNvPr id="160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161" name="Группа 160"/>
          <p:cNvGrpSpPr/>
          <p:nvPr/>
        </p:nvGrpSpPr>
        <p:grpSpPr>
          <a:xfrm>
            <a:off x="1794738" y="5960686"/>
            <a:ext cx="288000" cy="180000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162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endParaRPr>
            </a:p>
          </p:txBody>
        </p:sp>
        <p:sp>
          <p:nvSpPr>
            <p:cNvPr id="163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164" name="Группа 163"/>
          <p:cNvGrpSpPr/>
          <p:nvPr/>
        </p:nvGrpSpPr>
        <p:grpSpPr>
          <a:xfrm>
            <a:off x="1783546" y="6428718"/>
            <a:ext cx="288000" cy="180000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165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endParaRPr>
            </a:p>
          </p:txBody>
        </p:sp>
        <p:sp>
          <p:nvSpPr>
            <p:cNvPr id="166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176" name="Группа 175"/>
          <p:cNvGrpSpPr/>
          <p:nvPr/>
        </p:nvGrpSpPr>
        <p:grpSpPr>
          <a:xfrm>
            <a:off x="5500507" y="4556510"/>
            <a:ext cx="288000" cy="180000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177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endParaRPr>
            </a:p>
          </p:txBody>
        </p:sp>
        <p:sp>
          <p:nvSpPr>
            <p:cNvPr id="178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179" name="Группа 178"/>
          <p:cNvGrpSpPr/>
          <p:nvPr/>
        </p:nvGrpSpPr>
        <p:grpSpPr>
          <a:xfrm>
            <a:off x="5500507" y="4880566"/>
            <a:ext cx="288000" cy="180000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180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endParaRPr>
            </a:p>
          </p:txBody>
        </p:sp>
        <p:sp>
          <p:nvSpPr>
            <p:cNvPr id="181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182" name="Группа 181"/>
          <p:cNvGrpSpPr/>
          <p:nvPr/>
        </p:nvGrpSpPr>
        <p:grpSpPr>
          <a:xfrm>
            <a:off x="5489315" y="5269168"/>
            <a:ext cx="288000" cy="180000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183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endParaRPr>
            </a:p>
          </p:txBody>
        </p:sp>
        <p:sp>
          <p:nvSpPr>
            <p:cNvPr id="184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185" name="Группа 184"/>
          <p:cNvGrpSpPr/>
          <p:nvPr/>
        </p:nvGrpSpPr>
        <p:grpSpPr>
          <a:xfrm>
            <a:off x="5491362" y="5636630"/>
            <a:ext cx="288000" cy="180000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186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endParaRPr>
            </a:p>
          </p:txBody>
        </p:sp>
        <p:sp>
          <p:nvSpPr>
            <p:cNvPr id="187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188" name="Группа 187"/>
          <p:cNvGrpSpPr/>
          <p:nvPr/>
        </p:nvGrpSpPr>
        <p:grpSpPr>
          <a:xfrm>
            <a:off x="5500507" y="5996670"/>
            <a:ext cx="288000" cy="180000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189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endParaRPr>
            </a:p>
          </p:txBody>
        </p:sp>
        <p:sp>
          <p:nvSpPr>
            <p:cNvPr id="190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191" name="Группа 190"/>
          <p:cNvGrpSpPr/>
          <p:nvPr/>
        </p:nvGrpSpPr>
        <p:grpSpPr>
          <a:xfrm>
            <a:off x="5489315" y="6356710"/>
            <a:ext cx="288000" cy="180000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192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endParaRPr>
            </a:p>
          </p:txBody>
        </p:sp>
        <p:sp>
          <p:nvSpPr>
            <p:cNvPr id="193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203" name="Прямоугольник 28"/>
          <p:cNvSpPr>
            <a:spLocks noChangeArrowheads="1"/>
          </p:cNvSpPr>
          <p:nvPr/>
        </p:nvSpPr>
        <p:spPr bwMode="auto">
          <a:xfrm>
            <a:off x="580827" y="2720851"/>
            <a:ext cx="1206500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sz="1300" b="1" i="1" dirty="0">
                <a:cs typeface="Tahoma" pitchFamily="34" charset="0"/>
              </a:rPr>
              <a:t>Дата создания</a:t>
            </a:r>
          </a:p>
        </p:txBody>
      </p:sp>
      <p:sp>
        <p:nvSpPr>
          <p:cNvPr id="204" name="Прямоугольник 29"/>
          <p:cNvSpPr>
            <a:spLocks noChangeArrowheads="1"/>
          </p:cNvSpPr>
          <p:nvPr/>
        </p:nvSpPr>
        <p:spPr bwMode="auto">
          <a:xfrm>
            <a:off x="539552" y="4548435"/>
            <a:ext cx="1498600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sz="1300" b="1" i="1" dirty="0">
                <a:cs typeface="Tahoma" pitchFamily="34" charset="0"/>
              </a:rPr>
              <a:t> Направления деятельности</a:t>
            </a:r>
          </a:p>
        </p:txBody>
      </p:sp>
      <p:sp>
        <p:nvSpPr>
          <p:cNvPr id="205" name="Прямоугольник 46"/>
          <p:cNvSpPr>
            <a:spLocks noChangeArrowheads="1"/>
          </p:cNvSpPr>
          <p:nvPr/>
        </p:nvSpPr>
        <p:spPr bwMode="auto">
          <a:xfrm>
            <a:off x="580827" y="3600078"/>
            <a:ext cx="1457325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 sz="1300" b="1" i="1" dirty="0">
                <a:cs typeface="Tahoma" pitchFamily="34" charset="0"/>
              </a:rPr>
              <a:t>Учредители</a:t>
            </a:r>
          </a:p>
        </p:txBody>
      </p:sp>
      <p:grpSp>
        <p:nvGrpSpPr>
          <p:cNvPr id="206" name="Группа 205"/>
          <p:cNvGrpSpPr/>
          <p:nvPr/>
        </p:nvGrpSpPr>
        <p:grpSpPr>
          <a:xfrm>
            <a:off x="603052" y="2636912"/>
            <a:ext cx="8420298" cy="1800200"/>
            <a:chOff x="165100" y="2420888"/>
            <a:chExt cx="8858250" cy="1800200"/>
          </a:xfrm>
        </p:grpSpPr>
        <p:cxnSp>
          <p:nvCxnSpPr>
            <p:cNvPr id="207" name="Прямая соединительная линия 206"/>
            <p:cNvCxnSpPr/>
            <p:nvPr/>
          </p:nvCxnSpPr>
          <p:spPr>
            <a:xfrm flipV="1">
              <a:off x="165100" y="2420888"/>
              <a:ext cx="8858250" cy="635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  <a:prstDash val="sysDot"/>
              <a:headEnd type="diamond" w="med" len="med"/>
              <a:tailEnd type="diamond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Прямая соединительная линия 207"/>
            <p:cNvCxnSpPr/>
            <p:nvPr/>
          </p:nvCxnSpPr>
          <p:spPr>
            <a:xfrm flipV="1">
              <a:off x="165100" y="4214738"/>
              <a:ext cx="8858250" cy="635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  <a:prstDash val="sysDot"/>
              <a:headEnd type="diamond" w="med" len="med"/>
              <a:tailEnd type="diamond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9" name="Title 2"/>
          <p:cNvSpPr txBox="1">
            <a:spLocks/>
          </p:cNvSpPr>
          <p:nvPr/>
        </p:nvSpPr>
        <p:spPr bwMode="auto">
          <a:xfrm>
            <a:off x="631517" y="93961"/>
            <a:ext cx="8512483" cy="1661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ru-RU" altLang="ru-RU" sz="1200" b="1" dirty="0" smtClean="0"/>
              <a:t>ИНФОРМАЦИЯ ОБ ИНСТИТУТАХ РАВИТИЯ</a:t>
            </a:r>
          </a:p>
        </p:txBody>
      </p:sp>
      <p:sp>
        <p:nvSpPr>
          <p:cNvPr id="91" name="Text Box 49"/>
          <p:cNvSpPr txBox="1">
            <a:spLocks noChangeArrowheads="1"/>
          </p:cNvSpPr>
          <p:nvPr/>
        </p:nvSpPr>
        <p:spPr bwMode="auto">
          <a:xfrm>
            <a:off x="1783547" y="2106304"/>
            <a:ext cx="3474294" cy="5306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prstDash val="sysDot"/>
                <a:miter lim="800000"/>
                <a:headEnd/>
                <a:tailEnd/>
              </a14:hiddenLine>
            </a:ext>
          </a:extLst>
        </p:spPr>
        <p:txBody>
          <a:bodyPr wrap="square" lIns="98755" tIns="49378" rIns="98755" bIns="49378">
            <a:spAutoFit/>
          </a:bodyPr>
          <a:lstStyle>
            <a:lvl1pPr defTabSz="987425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defTabSz="987425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defTabSz="987425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defTabSz="987425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defTabSz="987425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9874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9874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9874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9874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>
              <a:buClr>
                <a:srgbClr val="990000"/>
              </a:buClr>
            </a:pPr>
            <a:r>
              <a:rPr lang="ru-RU" altLang="ru-RU" sz="1400" b="1" i="1" dirty="0" smtClean="0">
                <a:latin typeface="Arial" pitchFamily="34" charset="0"/>
              </a:rPr>
              <a:t>Основа поддержки предпринимательства </a:t>
            </a:r>
            <a:endParaRPr lang="ru-RU" altLang="ru-RU" sz="1400" b="1" i="1" dirty="0">
              <a:latin typeface="Arial" pitchFamily="34" charset="0"/>
            </a:endParaRPr>
          </a:p>
        </p:txBody>
      </p:sp>
      <p:sp>
        <p:nvSpPr>
          <p:cNvPr id="92" name="Text Box 49"/>
          <p:cNvSpPr txBox="1">
            <a:spLocks noChangeArrowheads="1"/>
          </p:cNvSpPr>
          <p:nvPr/>
        </p:nvSpPr>
        <p:spPr bwMode="auto">
          <a:xfrm>
            <a:off x="5436097" y="2105472"/>
            <a:ext cx="3587254" cy="487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prstDash val="sysDot"/>
                <a:miter lim="800000"/>
                <a:headEnd/>
                <a:tailEnd/>
              </a14:hiddenLine>
            </a:ext>
          </a:extLst>
        </p:spPr>
        <p:txBody>
          <a:bodyPr wrap="square" lIns="98755" tIns="49378" rIns="98755" bIns="49378">
            <a:spAutoFit/>
          </a:bodyPr>
          <a:lstStyle>
            <a:lvl1pPr defTabSz="987425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defTabSz="987425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defTabSz="987425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defTabSz="987425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defTabSz="987425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9874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9874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9874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9874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>
              <a:lnSpc>
                <a:spcPct val="90000"/>
              </a:lnSpc>
              <a:buClr>
                <a:srgbClr val="990000"/>
              </a:buClr>
            </a:pPr>
            <a:r>
              <a:rPr lang="ru-RU" altLang="ru-RU" sz="1400" b="1" i="1" dirty="0" smtClean="0">
                <a:latin typeface="Arial" pitchFamily="34" charset="0"/>
              </a:rPr>
              <a:t>Оператор инвестиционного процесса города</a:t>
            </a:r>
            <a:endParaRPr lang="ru-RU" altLang="ru-RU" sz="1400" b="1" i="1" dirty="0">
              <a:latin typeface="Arial" pitchFamily="34" charset="0"/>
            </a:endParaRPr>
          </a:p>
        </p:txBody>
      </p:sp>
      <p:sp>
        <p:nvSpPr>
          <p:cNvPr id="93" name="Прямоугольник 45"/>
          <p:cNvSpPr>
            <a:spLocks noChangeArrowheads="1"/>
          </p:cNvSpPr>
          <p:nvPr/>
        </p:nvSpPr>
        <p:spPr bwMode="auto">
          <a:xfrm>
            <a:off x="2627784" y="3024336"/>
            <a:ext cx="6538912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/>
          <a:lstStyle/>
          <a:p>
            <a:endParaRPr lang="ru-RU" altLang="ru-RU" sz="1600" b="1">
              <a:latin typeface="Tahoma" pitchFamily="34" charset="0"/>
              <a:cs typeface="Tahoma" pitchFamily="34" charset="0"/>
            </a:endParaRPr>
          </a:p>
        </p:txBody>
      </p:sp>
      <p:grpSp>
        <p:nvGrpSpPr>
          <p:cNvPr id="94" name="Группа 2"/>
          <p:cNvGrpSpPr>
            <a:grpSpLocks/>
          </p:cNvGrpSpPr>
          <p:nvPr/>
        </p:nvGrpSpPr>
        <p:grpSpPr bwMode="auto">
          <a:xfrm>
            <a:off x="3151683" y="3363342"/>
            <a:ext cx="4359275" cy="850900"/>
            <a:chOff x="2155031" y="5603461"/>
            <a:chExt cx="4721225" cy="1009717"/>
          </a:xfrm>
        </p:grpSpPr>
        <p:sp>
          <p:nvSpPr>
            <p:cNvPr id="95" name="Rectangle 19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ltGray">
            <a:xfrm>
              <a:off x="2155031" y="5603461"/>
              <a:ext cx="2260893" cy="100406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altLang="ru-RU" dirty="0" smtClean="0">
                <a:cs typeface="Arial" charset="0"/>
              </a:endParaRPr>
            </a:p>
          </p:txBody>
        </p:sp>
        <p:sp>
          <p:nvSpPr>
            <p:cNvPr id="96" name="Rectangle 20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ltGray">
            <a:xfrm>
              <a:off x="4675539" y="5603461"/>
              <a:ext cx="2200717" cy="100971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altLang="ru-RU" dirty="0" smtClean="0">
                <a:cs typeface="Arial" charset="0"/>
              </a:endParaRPr>
            </a:p>
          </p:txBody>
        </p:sp>
        <p:sp>
          <p:nvSpPr>
            <p:cNvPr id="97" name="TextBox 28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213060" y="5825778"/>
              <a:ext cx="1927225" cy="5540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/>
              <a:r>
                <a:rPr lang="ru-RU" altLang="ru-RU" sz="1500" b="1">
                  <a:latin typeface="Tahoma" pitchFamily="34" charset="0"/>
                  <a:cs typeface="Tahoma" pitchFamily="34" charset="0"/>
                </a:rPr>
                <a:t>Мэрия г. Череповца</a:t>
              </a:r>
            </a:p>
          </p:txBody>
        </p:sp>
        <p:sp>
          <p:nvSpPr>
            <p:cNvPr id="98" name="TextBox 29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5495130" y="5768628"/>
              <a:ext cx="1071891" cy="3836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/>
              <a:r>
                <a:rPr lang="ru-RU" altLang="ru-RU" sz="1500" b="1">
                  <a:latin typeface="Tahoma" pitchFamily="34" charset="0"/>
                  <a:cs typeface="Tahoma" pitchFamily="34" charset="0"/>
                </a:rPr>
                <a:t>ПАО</a:t>
              </a:r>
            </a:p>
          </p:txBody>
        </p:sp>
        <p:sp>
          <p:nvSpPr>
            <p:cNvPr id="99" name="Oval 23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ltGray">
            <a:xfrm rot="5400000" flipV="1">
              <a:off x="4568825" y="5917059"/>
              <a:ext cx="403225" cy="38576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 altLang="ru-RU" sz="1600">
                <a:latin typeface="Arial" pitchFamily="34" charset="0"/>
              </a:endParaRPr>
            </a:p>
          </p:txBody>
        </p:sp>
        <p:sp>
          <p:nvSpPr>
            <p:cNvPr id="100" name="Oval 23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ltGray">
            <a:xfrm rot="5400000" flipV="1">
              <a:off x="4308918" y="5910106"/>
              <a:ext cx="403133" cy="38512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altLang="ru-RU" dirty="0" smtClean="0">
                <a:cs typeface="Arial" charset="0"/>
              </a:endParaRPr>
            </a:p>
          </p:txBody>
        </p:sp>
        <p:sp>
          <p:nvSpPr>
            <p:cNvPr id="101" name="Oval 23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ltGray">
            <a:xfrm rot="5400000" flipV="1">
              <a:off x="4136987" y="5911989"/>
              <a:ext cx="403133" cy="38512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altLang="ru-RU" dirty="0" smtClean="0">
                <a:cs typeface="Arial" charset="0"/>
              </a:endParaRPr>
            </a:p>
          </p:txBody>
        </p:sp>
        <p:pic>
          <p:nvPicPr>
            <p:cNvPr id="102" name="Рисунок 2" descr="http://nason.ru/data/image/drevnost/cherepovec_2.gif"/>
            <p:cNvPicPr>
              <a:picLocks noChangeAspect="1" noChangeArrowheads="1"/>
            </p:cNvPicPr>
            <p:nvPr>
              <p:custDataLst>
                <p:tags r:id="rId8"/>
              </p:custDataLst>
            </p:nvPr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01370" y="5674724"/>
              <a:ext cx="726949" cy="9076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04" name="Picture 5" descr="http://reports.severstal.com/img/2012/severstal-rus-logo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8208" y="3642742"/>
            <a:ext cx="1479550" cy="48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5" name="Прямая соединительная линия 104"/>
          <p:cNvCxnSpPr/>
          <p:nvPr/>
        </p:nvCxnSpPr>
        <p:spPr>
          <a:xfrm flipV="1">
            <a:off x="611560" y="3212976"/>
            <a:ext cx="8420298" cy="635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sysDot"/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6" name="Picture 5" descr="00000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6136" y="1302098"/>
            <a:ext cx="717456" cy="750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7" name="Picture 10" descr="C:\Users\PK7\Desktop\логотип АГР.jp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6470" y="1433102"/>
            <a:ext cx="945349" cy="5892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5318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4336870"/>
              </p:ext>
            </p:extLst>
          </p:nvPr>
        </p:nvGraphicFramePr>
        <p:xfrm>
          <a:off x="755576" y="1052736"/>
          <a:ext cx="8280920" cy="5367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64296"/>
                <a:gridCol w="432048"/>
                <a:gridCol w="5184576"/>
              </a:tblGrid>
              <a:tr h="216024">
                <a:tc>
                  <a:txBody>
                    <a:bodyPr/>
                    <a:lstStyle/>
                    <a:p>
                      <a:pPr algn="ctr"/>
                      <a:r>
                        <a:rPr lang="ru-RU" sz="1400" i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блема</a:t>
                      </a:r>
                      <a:endParaRPr lang="ru-RU" sz="1400" i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2" marR="91442" marT="45702" marB="45702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endParaRPr lang="ru-RU" sz="1400" i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2" marR="91442" marT="45702" marB="45702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ru-RU" sz="1400" i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ханизм поддержки</a:t>
                      </a:r>
                      <a:endParaRPr lang="ru-RU" sz="1400" i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2" marR="91442" marT="45702" marB="45702" anchor="ctr"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83121">
                <a:tc>
                  <a:txBody>
                    <a:bodyPr/>
                    <a:lstStyle/>
                    <a:p>
                      <a:r>
                        <a:rPr lang="ru-RU" sz="1200" b="1" i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заимодействие бизнеса и власти</a:t>
                      </a:r>
                      <a:endParaRPr lang="ru-RU" sz="1200" b="1" i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2" marR="91442" marT="45702" marB="45702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6213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2" marR="91442" marT="45702" marB="45702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6213" indent="0">
                        <a:spcAft>
                          <a:spcPts val="1200"/>
                        </a:spcAft>
                        <a:buFont typeface="+mj-lt"/>
                        <a:buNone/>
                      </a:pPr>
                      <a:r>
                        <a:rPr lang="ru-RU" sz="13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бота Координационного Совета</a:t>
                      </a:r>
                      <a:r>
                        <a:rPr lang="ru-RU" sz="13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о поддержке МСП, работа отраслевых групп </a:t>
                      </a:r>
                    </a:p>
                    <a:p>
                      <a:pPr marL="176213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бота интерактивных механизмов взаимодействия</a:t>
                      </a:r>
                    </a:p>
                    <a:p>
                      <a:pPr marL="176213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бота Инвестиционного совета города, рабочих групп по реализации инвестиционных проектов</a:t>
                      </a:r>
                    </a:p>
                    <a:p>
                      <a:pPr marL="176213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ализация проектов на принципах ГЧП</a:t>
                      </a:r>
                    </a:p>
                  </a:txBody>
                  <a:tcPr marL="91442" marR="91442" marT="45702" marB="45702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6491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операция между малым, средним и крупным бизнесом</a:t>
                      </a:r>
                      <a:endParaRPr lang="ru-RU" sz="1200" b="1" i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2" marR="91442" marT="45702" marB="45702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4625" indent="0">
                        <a:spcAft>
                          <a:spcPts val="600"/>
                        </a:spcAft>
                      </a:pPr>
                      <a:endParaRPr lang="ru-RU" sz="1200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2" marR="91442" marT="45702" marB="45702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4625" indent="0">
                        <a:spcAft>
                          <a:spcPts val="0"/>
                        </a:spcAft>
                      </a:pPr>
                      <a:r>
                        <a:rPr lang="ru-RU" sz="1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</a:t>
                      </a:r>
                    </a:p>
                    <a:p>
                      <a:pPr marL="1746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ект «Электронная бизнес-кооперация»</a:t>
                      </a:r>
                    </a:p>
                  </a:txBody>
                  <a:tcPr marL="91442" marR="91442" marT="45702" marB="45702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629475">
                <a:tc>
                  <a:txBody>
                    <a:bodyPr/>
                    <a:lstStyle/>
                    <a:p>
                      <a:r>
                        <a:rPr lang="ru-RU" sz="1200" b="1" i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инансовые</a:t>
                      </a:r>
                      <a:r>
                        <a:rPr lang="ru-RU" sz="1200" b="1" i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редства для развития бизнеса </a:t>
                      </a:r>
                      <a:endParaRPr lang="ru-RU" sz="1200" b="1" i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2" marR="91442" marT="45702" marB="45702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endParaRPr lang="ru-RU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2" marR="91442" marT="45702" marB="45702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6213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арантийный Фонд</a:t>
                      </a:r>
                    </a:p>
                    <a:p>
                      <a:pPr marL="176213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логовый фонд</a:t>
                      </a:r>
                    </a:p>
                  </a:txBody>
                  <a:tcPr marL="91442" marR="91442" marT="45702" marB="45702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51924">
                <a:tc>
                  <a:txBody>
                    <a:bodyPr/>
                    <a:lstStyle/>
                    <a:p>
                      <a:r>
                        <a:rPr lang="ru-RU" sz="1200" b="1" i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разование и предпринимательские</a:t>
                      </a:r>
                      <a:r>
                        <a:rPr lang="ru-RU" sz="1200" b="1" i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омпетенции</a:t>
                      </a:r>
                      <a:endParaRPr lang="ru-RU" sz="1200" b="1" i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2" marR="91442" marT="45702" marB="45702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6213" indent="0">
                        <a:spcAft>
                          <a:spcPts val="600"/>
                        </a:spcAft>
                        <a:tabLst>
                          <a:tab pos="176213" algn="l"/>
                        </a:tabLst>
                      </a:pPr>
                      <a:endParaRPr lang="ru-RU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2" marR="91442" marT="45702" marB="45702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6213" indent="0">
                        <a:spcAft>
                          <a:spcPts val="1200"/>
                        </a:spcAft>
                        <a:tabLst>
                          <a:tab pos="176213" algn="l"/>
                        </a:tabLst>
                      </a:pPr>
                      <a:r>
                        <a:rPr lang="ru-RU" sz="13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ентр бизнес-</a:t>
                      </a:r>
                      <a:r>
                        <a:rPr lang="ru-RU" sz="13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разования </a:t>
                      </a:r>
                    </a:p>
                    <a:p>
                      <a:pPr marL="176213" indent="0">
                        <a:spcAft>
                          <a:spcPts val="1200"/>
                        </a:spcAft>
                        <a:tabLst>
                          <a:tab pos="176213" algn="l"/>
                        </a:tabLst>
                      </a:pPr>
                      <a:r>
                        <a:rPr lang="ru-RU" sz="13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ентр бизнес-</a:t>
                      </a:r>
                      <a:r>
                        <a:rPr lang="ru-RU" sz="13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нсалтинга</a:t>
                      </a:r>
                    </a:p>
                    <a:p>
                      <a:pPr marL="176213" indent="0">
                        <a:spcAft>
                          <a:spcPts val="1200"/>
                        </a:spcAft>
                      </a:pPr>
                      <a:r>
                        <a:rPr lang="ru-RU" sz="13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ентр инвестиционного консалтинга</a:t>
                      </a:r>
                    </a:p>
                  </a:txBody>
                  <a:tcPr marL="91442" marR="91442" marT="45702" marB="45702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3298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формационная</a:t>
                      </a:r>
                      <a:r>
                        <a:rPr lang="ru-RU" sz="1200" b="1" i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оддержка</a:t>
                      </a:r>
                    </a:p>
                  </a:txBody>
                  <a:tcPr marL="91442" marR="91442" marT="45702" marB="45702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6213" indent="0">
                        <a:spcAft>
                          <a:spcPts val="600"/>
                        </a:spcAft>
                      </a:pPr>
                      <a:endParaRPr lang="ru-RU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2" marR="91442" marT="45702" marB="45702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6213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терактивная инвестиционная карта города </a:t>
                      </a:r>
                    </a:p>
                  </a:txBody>
                  <a:tcPr marL="91442" marR="91442" marT="45702" marB="45702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55158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циальное предпринимательство</a:t>
                      </a:r>
                    </a:p>
                  </a:txBody>
                  <a:tcPr marL="91442" marR="91442" marT="45702" marB="45702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6213" indent="0">
                        <a:spcAft>
                          <a:spcPts val="600"/>
                        </a:spcAft>
                      </a:pPr>
                      <a:endParaRPr lang="ru-RU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2" marR="91442" marT="45702" marB="45702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6213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ентр инноваций в социальной сфере</a:t>
                      </a:r>
                    </a:p>
                  </a:txBody>
                  <a:tcPr marL="91442" marR="91442" marT="45702" marB="45702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6182" name="Line 7"/>
          <p:cNvSpPr>
            <a:spLocks noChangeShapeType="1"/>
          </p:cNvSpPr>
          <p:nvPr/>
        </p:nvSpPr>
        <p:spPr bwMode="auto">
          <a:xfrm flipV="1">
            <a:off x="787327" y="1340074"/>
            <a:ext cx="2560538" cy="0"/>
          </a:xfrm>
          <a:prstGeom prst="line">
            <a:avLst/>
          </a:prstGeom>
          <a:noFill/>
          <a:ln w="28575">
            <a:solidFill>
              <a:srgbClr val="C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6183" name="Line 7"/>
          <p:cNvSpPr>
            <a:spLocks noChangeShapeType="1"/>
          </p:cNvSpPr>
          <p:nvPr/>
        </p:nvSpPr>
        <p:spPr bwMode="auto">
          <a:xfrm>
            <a:off x="3533278" y="1340074"/>
            <a:ext cx="5503218" cy="0"/>
          </a:xfrm>
          <a:prstGeom prst="line">
            <a:avLst/>
          </a:prstGeom>
          <a:noFill/>
          <a:ln w="28575">
            <a:solidFill>
              <a:srgbClr val="C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grpSp>
        <p:nvGrpSpPr>
          <p:cNvPr id="21" name="Группа 20"/>
          <p:cNvGrpSpPr/>
          <p:nvPr/>
        </p:nvGrpSpPr>
        <p:grpSpPr>
          <a:xfrm>
            <a:off x="3622367" y="1411832"/>
            <a:ext cx="339967" cy="216621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22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23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24" name="Группа 23"/>
          <p:cNvGrpSpPr/>
          <p:nvPr/>
        </p:nvGrpSpPr>
        <p:grpSpPr>
          <a:xfrm>
            <a:off x="3622367" y="2347936"/>
            <a:ext cx="339967" cy="216621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25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26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27" name="Группа 26"/>
          <p:cNvGrpSpPr/>
          <p:nvPr/>
        </p:nvGrpSpPr>
        <p:grpSpPr>
          <a:xfrm>
            <a:off x="3624726" y="2851992"/>
            <a:ext cx="339967" cy="216621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28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29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30" name="Группа 29"/>
          <p:cNvGrpSpPr/>
          <p:nvPr/>
        </p:nvGrpSpPr>
        <p:grpSpPr>
          <a:xfrm>
            <a:off x="3647197" y="3284984"/>
            <a:ext cx="339967" cy="216621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31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32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36" name="Группа 35"/>
          <p:cNvGrpSpPr/>
          <p:nvPr/>
        </p:nvGrpSpPr>
        <p:grpSpPr>
          <a:xfrm>
            <a:off x="3645684" y="3717032"/>
            <a:ext cx="339967" cy="216621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37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38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39" name="Группа 38"/>
          <p:cNvGrpSpPr/>
          <p:nvPr/>
        </p:nvGrpSpPr>
        <p:grpSpPr>
          <a:xfrm>
            <a:off x="3637614" y="4365104"/>
            <a:ext cx="339967" cy="216621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40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41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42" name="Группа 41"/>
          <p:cNvGrpSpPr/>
          <p:nvPr/>
        </p:nvGrpSpPr>
        <p:grpSpPr>
          <a:xfrm>
            <a:off x="3640919" y="5085184"/>
            <a:ext cx="339967" cy="216621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43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44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45" name="Группа 44"/>
          <p:cNvGrpSpPr/>
          <p:nvPr/>
        </p:nvGrpSpPr>
        <p:grpSpPr>
          <a:xfrm>
            <a:off x="3640919" y="4725144"/>
            <a:ext cx="339967" cy="216621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46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47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48" name="Группа 47"/>
          <p:cNvGrpSpPr/>
          <p:nvPr/>
        </p:nvGrpSpPr>
        <p:grpSpPr>
          <a:xfrm>
            <a:off x="3640919" y="5516635"/>
            <a:ext cx="339967" cy="216621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49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50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51" name="Группа 50"/>
          <p:cNvGrpSpPr/>
          <p:nvPr/>
        </p:nvGrpSpPr>
        <p:grpSpPr>
          <a:xfrm>
            <a:off x="3643278" y="6021288"/>
            <a:ext cx="339967" cy="216621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52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53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6195" name="Группа 2"/>
          <p:cNvGrpSpPr>
            <a:grpSpLocks/>
          </p:cNvGrpSpPr>
          <p:nvPr/>
        </p:nvGrpSpPr>
        <p:grpSpPr bwMode="auto">
          <a:xfrm>
            <a:off x="3622998" y="1915021"/>
            <a:ext cx="339725" cy="217488"/>
            <a:chOff x="4166552" y="1412776"/>
            <a:chExt cx="339972" cy="216621"/>
          </a:xfrm>
        </p:grpSpPr>
        <p:sp>
          <p:nvSpPr>
            <p:cNvPr id="19" name="Rectangle 43"/>
            <p:cNvSpPr>
              <a:spLocks noChangeArrowheads="1"/>
            </p:cNvSpPr>
            <p:nvPr/>
          </p:nvSpPr>
          <p:spPr bwMode="auto">
            <a:xfrm>
              <a:off x="4166552" y="1469698"/>
              <a:ext cx="268482" cy="159699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60" name="Rectangle 43"/>
            <p:cNvSpPr>
              <a:spLocks noChangeArrowheads="1"/>
            </p:cNvSpPr>
            <p:nvPr/>
          </p:nvSpPr>
          <p:spPr bwMode="auto">
            <a:xfrm>
              <a:off x="4299999" y="1469698"/>
              <a:ext cx="158865" cy="159699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61" name="Freeform 23"/>
            <p:cNvSpPr>
              <a:spLocks/>
            </p:cNvSpPr>
            <p:nvPr/>
          </p:nvSpPr>
          <p:spPr bwMode="auto">
            <a:xfrm>
              <a:off x="4277758" y="1412776"/>
              <a:ext cx="228766" cy="17867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63" name="Группа 62"/>
          <p:cNvGrpSpPr/>
          <p:nvPr/>
        </p:nvGrpSpPr>
        <p:grpSpPr>
          <a:xfrm>
            <a:off x="4499992" y="6505490"/>
            <a:ext cx="339967" cy="216621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64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65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66" name="Группа 65"/>
          <p:cNvGrpSpPr/>
          <p:nvPr/>
        </p:nvGrpSpPr>
        <p:grpSpPr>
          <a:xfrm>
            <a:off x="6405492" y="6528782"/>
            <a:ext cx="339967" cy="216621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67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68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6198" name="Прямоугольник 68"/>
          <p:cNvSpPr>
            <a:spLocks noChangeArrowheads="1"/>
          </p:cNvSpPr>
          <p:nvPr/>
        </p:nvSpPr>
        <p:spPr bwMode="auto">
          <a:xfrm>
            <a:off x="4839394" y="6557963"/>
            <a:ext cx="27178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altLang="ru-RU" sz="1100" i="1">
                <a:latin typeface="Arial" pitchFamily="34" charset="0"/>
                <a:cs typeface="Tahoma" pitchFamily="34" charset="0"/>
              </a:rPr>
              <a:t>Проекты НП «АГР»</a:t>
            </a:r>
          </a:p>
        </p:txBody>
      </p:sp>
      <p:sp>
        <p:nvSpPr>
          <p:cNvPr id="6199" name="Прямоугольник 69"/>
          <p:cNvSpPr>
            <a:spLocks noChangeArrowheads="1"/>
          </p:cNvSpPr>
          <p:nvPr/>
        </p:nvSpPr>
        <p:spPr bwMode="auto">
          <a:xfrm>
            <a:off x="6752332" y="6569075"/>
            <a:ext cx="2716212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altLang="ru-RU" sz="1100" i="1">
                <a:latin typeface="Arial" pitchFamily="34" charset="0"/>
                <a:cs typeface="Tahoma" pitchFamily="34" charset="0"/>
              </a:rPr>
              <a:t>Проекты АНО «ИА «Череповец»</a:t>
            </a:r>
          </a:p>
        </p:txBody>
      </p:sp>
      <p:pic>
        <p:nvPicPr>
          <p:cNvPr id="6200" name="Picture 5" descr="00000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908720" y="128588"/>
            <a:ext cx="698500" cy="730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201" name="Title 2"/>
          <p:cNvSpPr txBox="1">
            <a:spLocks/>
          </p:cNvSpPr>
          <p:nvPr/>
        </p:nvSpPr>
        <p:spPr bwMode="auto">
          <a:xfrm>
            <a:off x="787327" y="404664"/>
            <a:ext cx="8249169" cy="470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ru-RU" altLang="ru-RU" sz="1700" b="1" dirty="0">
                <a:latin typeface="Arial" panose="020B0604020202020204" pitchFamily="34" charset="0"/>
              </a:rPr>
              <a:t>Основные проекты агентств направлены на решение  проблем предпринимателей на различных стадиях бизнес-цикла</a:t>
            </a:r>
          </a:p>
        </p:txBody>
      </p:sp>
      <p:sp>
        <p:nvSpPr>
          <p:cNvPr id="59" name="Номер слайда 2"/>
          <p:cNvSpPr txBox="1">
            <a:spLocks/>
          </p:cNvSpPr>
          <p:nvPr/>
        </p:nvSpPr>
        <p:spPr>
          <a:xfrm>
            <a:off x="9108182" y="6518275"/>
            <a:ext cx="487362" cy="366713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>
              <a:defRPr/>
            </a:pPr>
            <a:fld id="{5A99E810-70DC-4105-9F92-C6D8E159BC35}" type="slidenum">
              <a:rPr lang="ru-RU" sz="2000" b="1" smtClean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/>
              </a:pPr>
              <a:t>3</a:t>
            </a:fld>
            <a:endParaRPr lang="ru-RU" sz="2000" b="1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Title 2"/>
          <p:cNvSpPr txBox="1">
            <a:spLocks/>
          </p:cNvSpPr>
          <p:nvPr/>
        </p:nvSpPr>
        <p:spPr bwMode="auto">
          <a:xfrm>
            <a:off x="631517" y="93961"/>
            <a:ext cx="8512483" cy="1666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ru-RU" altLang="ru-RU" sz="1200" b="1" dirty="0" smtClean="0"/>
              <a:t>ПРАКТИКИ МУНИЦИПАЛЬНОГО ОБРАЗОВАНИЯ «ГОРОД ЧЕРЕПОВЕЦ»</a:t>
            </a:r>
            <a:endParaRPr lang="ru-RU" altLang="ru-RU" sz="1200" b="1" dirty="0"/>
          </a:p>
        </p:txBody>
      </p:sp>
      <p:grpSp>
        <p:nvGrpSpPr>
          <p:cNvPr id="55" name="Группа 54"/>
          <p:cNvGrpSpPr/>
          <p:nvPr/>
        </p:nvGrpSpPr>
        <p:grpSpPr>
          <a:xfrm>
            <a:off x="3645684" y="4076475"/>
            <a:ext cx="339967" cy="216621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56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57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58" name="Номер слайда 2"/>
          <p:cNvSpPr txBox="1">
            <a:spLocks/>
          </p:cNvSpPr>
          <p:nvPr/>
        </p:nvSpPr>
        <p:spPr>
          <a:xfrm>
            <a:off x="53794" y="6446663"/>
            <a:ext cx="487363" cy="366713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>
              <a:defRPr/>
            </a:pPr>
            <a:fld id="{C45D8568-3546-4613-9456-5AC0D6096D5C}" type="slidenum">
              <a:rPr lang="ru-RU" sz="2000" b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/>
              </a:pPr>
              <a:t>3</a:t>
            </a:fld>
            <a:endParaRPr 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1104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2736978691"/>
              </p:ext>
            </p:extLst>
          </p:nvPr>
        </p:nvGraphicFramePr>
        <p:xfrm>
          <a:off x="1979712" y="2348881"/>
          <a:ext cx="6971195" cy="18722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1553493059"/>
              </p:ext>
            </p:extLst>
          </p:nvPr>
        </p:nvGraphicFramePr>
        <p:xfrm>
          <a:off x="1979713" y="4149080"/>
          <a:ext cx="6984775" cy="28803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603051" y="1628800"/>
            <a:ext cx="1262509" cy="5229200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603052" y="2348880"/>
            <a:ext cx="8433444" cy="1872208"/>
            <a:chOff x="395536" y="2730351"/>
            <a:chExt cx="8872538" cy="1872208"/>
          </a:xfrm>
        </p:grpSpPr>
        <p:cxnSp>
          <p:nvCxnSpPr>
            <p:cNvPr id="8" name="Прямая соединительная линия 7"/>
            <p:cNvCxnSpPr/>
            <p:nvPr/>
          </p:nvCxnSpPr>
          <p:spPr>
            <a:xfrm flipV="1">
              <a:off x="395536" y="2730351"/>
              <a:ext cx="8858250" cy="635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  <a:prstDash val="sysDot"/>
              <a:headEnd type="diamond" w="med" len="med"/>
              <a:tailEnd type="diamond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Прямая соединительная линия 8"/>
            <p:cNvCxnSpPr/>
            <p:nvPr/>
          </p:nvCxnSpPr>
          <p:spPr>
            <a:xfrm flipV="1">
              <a:off x="409824" y="4596209"/>
              <a:ext cx="8858250" cy="635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  <a:prstDash val="sysDot"/>
              <a:headEnd type="diamond" w="med" len="med"/>
              <a:tailEnd type="diamond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Прямоугольник 54"/>
          <p:cNvSpPr>
            <a:spLocks noChangeArrowheads="1"/>
          </p:cNvSpPr>
          <p:nvPr/>
        </p:nvSpPr>
        <p:spPr bwMode="auto">
          <a:xfrm>
            <a:off x="531632" y="1628800"/>
            <a:ext cx="1157371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50" b="1" i="1" dirty="0" smtClean="0">
                <a:solidFill>
                  <a:prstClr val="black"/>
                </a:solidFill>
                <a:cs typeface="Tahoma" pitchFamily="34" charset="0"/>
              </a:rPr>
              <a:t>Суть</a:t>
            </a:r>
          </a:p>
        </p:txBody>
      </p:sp>
      <p:sp>
        <p:nvSpPr>
          <p:cNvPr id="11" name="Прямоугольник 55"/>
          <p:cNvSpPr>
            <a:spLocks noChangeArrowheads="1"/>
          </p:cNvSpPr>
          <p:nvPr/>
        </p:nvSpPr>
        <p:spPr bwMode="auto">
          <a:xfrm>
            <a:off x="563091" y="2492896"/>
            <a:ext cx="1344613" cy="477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50" b="1" i="1" dirty="0" smtClean="0">
                <a:solidFill>
                  <a:prstClr val="black"/>
                </a:solidFill>
                <a:cs typeface="Tahoma" pitchFamily="34" charset="0"/>
              </a:rPr>
              <a:t>Механизм работы</a:t>
            </a:r>
          </a:p>
        </p:txBody>
      </p:sp>
      <p:sp>
        <p:nvSpPr>
          <p:cNvPr id="12" name="Прямоугольник 59"/>
          <p:cNvSpPr>
            <a:spLocks noChangeArrowheads="1"/>
          </p:cNvSpPr>
          <p:nvPr/>
        </p:nvSpPr>
        <p:spPr bwMode="auto">
          <a:xfrm>
            <a:off x="520948" y="4407495"/>
            <a:ext cx="1344613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ru-RU" sz="1200" b="1" i="1" dirty="0">
                <a:latin typeface="Arial" pitchFamily="34" charset="0"/>
                <a:cs typeface="Tahoma" pitchFamily="34" charset="0"/>
              </a:rPr>
              <a:t>Отраслевые группы</a:t>
            </a:r>
          </a:p>
        </p:txBody>
      </p:sp>
      <p:sp>
        <p:nvSpPr>
          <p:cNvPr id="13" name="Прямоугольник 1"/>
          <p:cNvSpPr>
            <a:spLocks noChangeArrowheads="1"/>
          </p:cNvSpPr>
          <p:nvPr/>
        </p:nvSpPr>
        <p:spPr bwMode="auto">
          <a:xfrm>
            <a:off x="603052" y="404664"/>
            <a:ext cx="8505452" cy="877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altLang="ru-RU" sz="17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ru-RU" altLang="ru-RU" sz="1700" b="1" dirty="0">
                <a:latin typeface="Arial" panose="020B0604020202020204" pitchFamily="34" charset="0"/>
                <a:cs typeface="Arial" panose="020B0604020202020204" pitchFamily="34" charset="0"/>
              </a:rPr>
              <a:t>базе НП «Агентство городского </a:t>
            </a:r>
            <a:r>
              <a:rPr lang="ru-RU" altLang="ru-RU" sz="17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развития» организована работа Координационного Совета </a:t>
            </a:r>
            <a:r>
              <a:rPr lang="ru-RU" altLang="ru-RU" sz="1700" b="1" dirty="0">
                <a:latin typeface="Arial" panose="020B0604020202020204" pitchFamily="34" charset="0"/>
                <a:cs typeface="Arial" panose="020B0604020202020204" pitchFamily="34" charset="0"/>
              </a:rPr>
              <a:t>по поддержке малого и среднего </a:t>
            </a:r>
            <a:r>
              <a:rPr lang="ru-RU" altLang="ru-RU" sz="17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едпринимательства</a:t>
            </a:r>
            <a:endParaRPr lang="ru-RU" altLang="ru-RU" sz="17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2"/>
          <p:cNvSpPr txBox="1">
            <a:spLocks/>
          </p:cNvSpPr>
          <p:nvPr/>
        </p:nvSpPr>
        <p:spPr bwMode="auto">
          <a:xfrm>
            <a:off x="631517" y="93961"/>
            <a:ext cx="8512483" cy="1666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ru-RU" altLang="ru-RU" sz="1200" b="1" dirty="0" smtClean="0"/>
              <a:t>ПРАКТИКИ МУНИЦИПАЛЬНОГО ОБРАЗОВАНИЯ «ГОРОД ЧЕРЕПОВЕЦ»</a:t>
            </a:r>
            <a:endParaRPr lang="ru-RU" altLang="ru-RU" sz="1200" b="1" dirty="0"/>
          </a:p>
        </p:txBody>
      </p:sp>
      <p:sp>
        <p:nvSpPr>
          <p:cNvPr id="15" name="Прямоугольник 49"/>
          <p:cNvSpPr>
            <a:spLocks noChangeArrowheads="1"/>
          </p:cNvSpPr>
          <p:nvPr/>
        </p:nvSpPr>
        <p:spPr bwMode="auto">
          <a:xfrm>
            <a:off x="1885770" y="1652725"/>
            <a:ext cx="7258230" cy="480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altLang="ru-RU" sz="1400" b="1" dirty="0" smtClean="0">
                <a:latin typeface="Arial" pitchFamily="34" charset="0"/>
                <a:cs typeface="Tahoma" pitchFamily="34" charset="0"/>
              </a:rPr>
              <a:t>Площадка </a:t>
            </a:r>
            <a:r>
              <a:rPr lang="ru-RU" altLang="ru-RU" sz="1400" b="1" dirty="0">
                <a:latin typeface="Arial" pitchFamily="34" charset="0"/>
                <a:cs typeface="Tahoma" pitchFamily="34" charset="0"/>
              </a:rPr>
              <a:t>взаимодействия бизнеса и власти, инициирующая </a:t>
            </a:r>
            <a:r>
              <a:rPr lang="ru-RU" altLang="ru-RU" sz="1400" b="1" dirty="0" smtClean="0">
                <a:latin typeface="Arial" pitchFamily="34" charset="0"/>
                <a:cs typeface="Tahoma" pitchFamily="34" charset="0"/>
              </a:rPr>
              <a:t>рассмотрение вопросов </a:t>
            </a:r>
            <a:r>
              <a:rPr lang="ru-RU" altLang="ru-RU" sz="1400" b="1" dirty="0">
                <a:latin typeface="Arial" pitchFamily="34" charset="0"/>
                <a:cs typeface="Tahoma" pitchFamily="34" charset="0"/>
              </a:rPr>
              <a:t>развития </a:t>
            </a:r>
            <a:r>
              <a:rPr lang="ru-RU" altLang="ru-RU" sz="1400" b="1" dirty="0" smtClean="0">
                <a:latin typeface="Arial" pitchFamily="34" charset="0"/>
                <a:cs typeface="Tahoma" pitchFamily="34" charset="0"/>
              </a:rPr>
              <a:t>предпринимательства в </a:t>
            </a:r>
            <a:r>
              <a:rPr lang="ru-RU" altLang="ru-RU" sz="1400" b="1" dirty="0">
                <a:latin typeface="Arial" pitchFamily="34" charset="0"/>
                <a:cs typeface="Tahoma" pitchFamily="34" charset="0"/>
              </a:rPr>
              <a:t>рамках сфер отраслевых групп</a:t>
            </a:r>
          </a:p>
        </p:txBody>
      </p:sp>
      <p:sp>
        <p:nvSpPr>
          <p:cNvPr id="16" name="Номер слайда 2"/>
          <p:cNvSpPr txBox="1">
            <a:spLocks/>
          </p:cNvSpPr>
          <p:nvPr/>
        </p:nvSpPr>
        <p:spPr>
          <a:xfrm>
            <a:off x="53794" y="6446663"/>
            <a:ext cx="487363" cy="366713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>
              <a:defRPr/>
            </a:pPr>
            <a:fld id="{C45D8568-3546-4613-9456-5AC0D6096D5C}" type="slidenum">
              <a:rPr lang="ru-RU" sz="2000" b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/>
              </a:pPr>
              <a:t>4</a:t>
            </a:fld>
            <a:endParaRPr 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9518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642910" y="1428736"/>
            <a:ext cx="1262509" cy="5429264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Группа 6"/>
          <p:cNvGrpSpPr/>
          <p:nvPr/>
        </p:nvGrpSpPr>
        <p:grpSpPr>
          <a:xfrm>
            <a:off x="603052" y="2348880"/>
            <a:ext cx="8433444" cy="2723194"/>
            <a:chOff x="395536" y="2730351"/>
            <a:chExt cx="8872538" cy="2723194"/>
          </a:xfrm>
        </p:grpSpPr>
        <p:cxnSp>
          <p:nvCxnSpPr>
            <p:cNvPr id="8" name="Прямая соединительная линия 7"/>
            <p:cNvCxnSpPr/>
            <p:nvPr/>
          </p:nvCxnSpPr>
          <p:spPr>
            <a:xfrm flipV="1">
              <a:off x="395536" y="2730351"/>
              <a:ext cx="8858250" cy="635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  <a:prstDash val="sysDot"/>
              <a:headEnd type="diamond" w="med" len="med"/>
              <a:tailEnd type="diamond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Прямая соединительная линия 8"/>
            <p:cNvCxnSpPr/>
            <p:nvPr/>
          </p:nvCxnSpPr>
          <p:spPr>
            <a:xfrm flipV="1">
              <a:off x="409824" y="5447195"/>
              <a:ext cx="8858250" cy="635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  <a:prstDash val="sysDot"/>
              <a:headEnd type="diamond" w="med" len="med"/>
              <a:tailEnd type="diamond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Прямоугольник 1"/>
          <p:cNvSpPr>
            <a:spLocks noChangeArrowheads="1"/>
          </p:cNvSpPr>
          <p:nvPr/>
        </p:nvSpPr>
        <p:spPr bwMode="auto">
          <a:xfrm>
            <a:off x="603052" y="404664"/>
            <a:ext cx="8505452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altLang="ru-RU" sz="17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оект по взаимодействию крупного, среднего и малого бизнеса: «Электронная Бизнес-Кооперация» </a:t>
            </a:r>
          </a:p>
        </p:txBody>
      </p:sp>
      <p:sp>
        <p:nvSpPr>
          <p:cNvPr id="14" name="Title 2"/>
          <p:cNvSpPr txBox="1">
            <a:spLocks/>
          </p:cNvSpPr>
          <p:nvPr/>
        </p:nvSpPr>
        <p:spPr bwMode="auto">
          <a:xfrm>
            <a:off x="631517" y="93961"/>
            <a:ext cx="8512483" cy="1666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ru-RU" altLang="ru-RU" sz="1200" b="1" dirty="0" smtClean="0"/>
              <a:t>ПРАКТИКИ МУНИЦИПАЛЬНОГО ОБРАЗОВАНИЯ «ГОРОД ЧЕРЕПОВЕЦ»</a:t>
            </a:r>
            <a:endParaRPr lang="ru-RU" altLang="ru-RU" sz="1200" b="1" dirty="0"/>
          </a:p>
        </p:txBody>
      </p:sp>
      <p:sp>
        <p:nvSpPr>
          <p:cNvPr id="16" name="Номер слайда 2"/>
          <p:cNvSpPr txBox="1">
            <a:spLocks/>
          </p:cNvSpPr>
          <p:nvPr/>
        </p:nvSpPr>
        <p:spPr>
          <a:xfrm>
            <a:off x="53794" y="6446663"/>
            <a:ext cx="487363" cy="366713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>
              <a:defRPr/>
            </a:pPr>
            <a:fld id="{C45D8568-3546-4613-9456-5AC0D6096D5C}" type="slidenum">
              <a:rPr lang="ru-RU" sz="2000" b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/>
              </a:pPr>
              <a:t>5</a:t>
            </a:fld>
            <a:endParaRPr 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1981173" y="2540009"/>
            <a:ext cx="4429156" cy="14843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8" name="Овал 17"/>
          <p:cNvSpPr/>
          <p:nvPr/>
        </p:nvSpPr>
        <p:spPr>
          <a:xfrm>
            <a:off x="6464306" y="6073775"/>
            <a:ext cx="1223963" cy="6604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9" name="Овал 18"/>
          <p:cNvSpPr/>
          <p:nvPr/>
        </p:nvSpPr>
        <p:spPr>
          <a:xfrm>
            <a:off x="6464306" y="5197475"/>
            <a:ext cx="1223963" cy="6604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0" name="Прямоугольник 13"/>
          <p:cNvSpPr>
            <a:spLocks noChangeArrowheads="1"/>
          </p:cNvSpPr>
          <p:nvPr/>
        </p:nvSpPr>
        <p:spPr bwMode="auto">
          <a:xfrm>
            <a:off x="1981173" y="2536833"/>
            <a:ext cx="4429156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solidFill>
                  <a:srgbClr val="0070C0"/>
                </a:solidFill>
                <a:latin typeface="Arial" pitchFamily="34" charset="0"/>
              </a:rPr>
              <a:t>www.agr-city.ru</a:t>
            </a:r>
            <a:endParaRPr lang="ru-RU" sz="1600" b="1" dirty="0">
              <a:solidFill>
                <a:srgbClr val="0070C0"/>
              </a:solidFill>
              <a:latin typeface="Arial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3287738" y="4478347"/>
            <a:ext cx="2311400" cy="30797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>
            <a:spAutoFit/>
          </a:bodyPr>
          <a:lstStyle/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Движимое имущество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3282975" y="4087822"/>
            <a:ext cx="1811338" cy="30638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Недвижимость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3181375" y="2833697"/>
            <a:ext cx="1841500" cy="1136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4" name="Стрелка вниз 23"/>
          <p:cNvSpPr/>
          <p:nvPr/>
        </p:nvSpPr>
        <p:spPr>
          <a:xfrm rot="16200000">
            <a:off x="2478907" y="3344081"/>
            <a:ext cx="554038" cy="1063625"/>
          </a:xfrm>
          <a:prstGeom prst="down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25" name="Стрелка вниз 24"/>
          <p:cNvSpPr/>
          <p:nvPr/>
        </p:nvSpPr>
        <p:spPr>
          <a:xfrm rot="5400000">
            <a:off x="5187975" y="3340109"/>
            <a:ext cx="554038" cy="1062038"/>
          </a:xfrm>
          <a:prstGeom prst="down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26" name="Прямоугольник 25"/>
          <p:cNvSpPr/>
          <p:nvPr/>
        </p:nvSpPr>
        <p:spPr>
          <a:xfrm>
            <a:off x="2224113" y="3679838"/>
            <a:ext cx="873125" cy="368300"/>
          </a:xfrm>
          <a:prstGeom prst="rect">
            <a:avLst/>
          </a:prstGeom>
          <a:noFill/>
          <a:ln>
            <a:noFill/>
          </a:ln>
          <a:effectLst>
            <a:outerShdw dist="38100" sx="1000" sy="1000" algn="t" rotWithShape="0">
              <a:prstClr val="black"/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chemeClr val="bg1"/>
                </a:solidFill>
                <a:latin typeface="Arial Narrow" panose="020B0606020202030204" pitchFamily="34" charset="0"/>
              </a:rPr>
              <a:t>Заказы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5180038" y="3686184"/>
            <a:ext cx="820737" cy="369888"/>
          </a:xfrm>
          <a:prstGeom prst="rect">
            <a:avLst/>
          </a:prstGeom>
          <a:noFill/>
          <a:ln>
            <a:noFill/>
          </a:ln>
          <a:effectLst>
            <a:outerShdw sx="1000" sy="1000" algn="t" rotWithShape="0">
              <a:prstClr val="black"/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chemeClr val="bg1"/>
                </a:solidFill>
                <a:latin typeface="Arial Narrow" panose="020B0606020202030204" pitchFamily="34" charset="0"/>
              </a:rPr>
              <a:t>Сбыт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1928794" y="3049597"/>
            <a:ext cx="1266825" cy="534987"/>
          </a:xfrm>
          <a:prstGeom prst="rect">
            <a:avLst/>
          </a:prstGeom>
          <a:noFill/>
          <a:ln>
            <a:noFill/>
          </a:ln>
          <a:effectLst>
            <a:outerShdw dist="38100" sx="1000" sy="1000" algn="t" rotWithShape="0">
              <a:prstClr val="black"/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упный бизнес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4824416" y="3017847"/>
            <a:ext cx="1585913" cy="534987"/>
          </a:xfrm>
          <a:prstGeom prst="rect">
            <a:avLst/>
          </a:prstGeom>
          <a:noFill/>
          <a:ln>
            <a:noFill/>
          </a:ln>
          <a:effectLst>
            <a:outerShdw dist="38100" sx="1000" sy="1000" algn="t" rotWithShape="0">
              <a:prstClr val="black"/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лые предприятия</a:t>
            </a:r>
          </a:p>
        </p:txBody>
      </p:sp>
      <p:sp>
        <p:nvSpPr>
          <p:cNvPr id="30" name="Равнобедренный треугольник 29"/>
          <p:cNvSpPr/>
          <p:nvPr/>
        </p:nvSpPr>
        <p:spPr>
          <a:xfrm rot="5400000">
            <a:off x="4433923" y="5976938"/>
            <a:ext cx="1863725" cy="98425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31" name="Picture 3" descr="C:\Users\PK4\Desktop\ЭБК-баннер(1).png"/>
          <p:cNvPicPr>
            <a:picLocks noChangeAspect="1" noChangeArrowheads="1"/>
          </p:cNvPicPr>
          <p:nvPr/>
        </p:nvPicPr>
        <p:blipFill rotWithShape="1">
          <a:blip r:embed="rId2"/>
          <a:srcRect l="7630" t="1903" r="4825" b="4054"/>
          <a:stretch/>
        </p:blipFill>
        <p:spPr bwMode="auto">
          <a:xfrm>
            <a:off x="3270275" y="2921009"/>
            <a:ext cx="1631950" cy="10604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2" descr="http://www.metaprom.ru/foto_news/1341478088foto1_big.jpg"/>
          <p:cNvPicPr>
            <a:picLocks noChangeAspect="1" noChangeArrowheads="1"/>
          </p:cNvPicPr>
          <p:nvPr/>
        </p:nvPicPr>
        <p:blipFill>
          <a:blip r:embed="rId3"/>
          <a:srcRect l="8464" t="9406" r="7088" b="9273"/>
          <a:stretch>
            <a:fillRect/>
          </a:stretch>
        </p:blipFill>
        <p:spPr bwMode="auto">
          <a:xfrm>
            <a:off x="5429256" y="5208588"/>
            <a:ext cx="952500" cy="693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" name="Picture 18" descr="http://www.vip-doski.ru/file/img9108_Crew_Gold_prodaet_svoi_aktsii_Severstali.jpg"/>
          <p:cNvPicPr>
            <a:picLocks noChangeAspect="1" noChangeArrowheads="1"/>
          </p:cNvPicPr>
          <p:nvPr/>
        </p:nvPicPr>
        <p:blipFill>
          <a:blip r:embed="rId4"/>
          <a:srcRect l="22179" t="16243" r="19434" b="16855"/>
          <a:stretch>
            <a:fillRect/>
          </a:stretch>
        </p:blipFill>
        <p:spPr bwMode="auto">
          <a:xfrm>
            <a:off x="5537206" y="6092825"/>
            <a:ext cx="736600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" name="Прямоугольник 33"/>
          <p:cNvSpPr/>
          <p:nvPr/>
        </p:nvSpPr>
        <p:spPr>
          <a:xfrm>
            <a:off x="2263810" y="5443538"/>
            <a:ext cx="3022570" cy="1082675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6200" tIns="76200" rIns="76200" bIns="76200" spcCol="1270" anchor="ctr"/>
          <a:lstStyle/>
          <a:p>
            <a:pPr defTabSz="889000" fontAlgn="auto">
              <a:lnSpc>
                <a:spcPct val="90000"/>
              </a:lnSpc>
              <a:spcAft>
                <a:spcPts val="1200"/>
              </a:spcAft>
              <a:defRPr/>
            </a:pP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мещено</a:t>
            </a:r>
            <a:r>
              <a:rPr lang="ru-RU" sz="1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50</a:t>
            </a:r>
            <a:r>
              <a:rPr lang="ru-RU" sz="14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ложений в соответствующих категориях</a:t>
            </a:r>
          </a:p>
          <a:p>
            <a:pPr defTabSz="889000" fontAlgn="auto">
              <a:lnSpc>
                <a:spcPct val="90000"/>
              </a:lnSpc>
              <a:spcAft>
                <a:spcPts val="1200"/>
              </a:spcAft>
              <a:defRPr/>
            </a:pPr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ействовано более</a:t>
            </a:r>
            <a:r>
              <a:rPr lang="ru-RU" sz="14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70 </a:t>
            </a: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аний Вологодской области</a:t>
            </a:r>
          </a:p>
          <a:p>
            <a:pPr defTabSz="889000" fontAlgn="auto">
              <a:lnSpc>
                <a:spcPct val="90000"/>
              </a:lnSpc>
              <a:spcAft>
                <a:spcPts val="1200"/>
              </a:spcAft>
              <a:defRPr/>
            </a:pP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ее количество просмотров в месяц - </a:t>
            </a:r>
            <a:r>
              <a:rPr lang="ru-RU" sz="14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0</a:t>
            </a:r>
            <a:endParaRPr lang="ru-RU" sz="14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5" name="Группа 51"/>
          <p:cNvGrpSpPr/>
          <p:nvPr/>
        </p:nvGrpSpPr>
        <p:grpSpPr>
          <a:xfrm>
            <a:off x="1946017" y="5228602"/>
            <a:ext cx="339967" cy="216621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36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37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38" name="Группа 60"/>
          <p:cNvGrpSpPr/>
          <p:nvPr/>
        </p:nvGrpSpPr>
        <p:grpSpPr>
          <a:xfrm>
            <a:off x="1937953" y="5732658"/>
            <a:ext cx="339967" cy="216621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39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40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41" name="Группа 63"/>
          <p:cNvGrpSpPr/>
          <p:nvPr/>
        </p:nvGrpSpPr>
        <p:grpSpPr>
          <a:xfrm>
            <a:off x="1936440" y="6308722"/>
            <a:ext cx="339967" cy="216621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42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43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44" name="Прямоугольник 49"/>
          <p:cNvSpPr>
            <a:spLocks noChangeArrowheads="1"/>
          </p:cNvSpPr>
          <p:nvPr/>
        </p:nvSpPr>
        <p:spPr bwMode="auto">
          <a:xfrm>
            <a:off x="1928794" y="1428736"/>
            <a:ext cx="7215206" cy="8679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altLang="ru-RU" sz="1400" b="1" dirty="0">
                <a:latin typeface="Arial" pitchFamily="34" charset="0"/>
                <a:cs typeface="Tahoma" pitchFamily="34" charset="0"/>
              </a:rPr>
              <a:t>Электронная площадка, где промышленные компании и организации через Интернет извещают малые и средние предприятия о заказах, подержанном оборудовании и объектах недвижимости, предназначенных для продажи или аренды. 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7739069" y="5381625"/>
            <a:ext cx="1404931" cy="1160463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8890" tIns="8890" rIns="8890" bIns="8890" spcCol="1270" anchor="ctr"/>
          <a:lstStyle/>
          <a:p>
            <a:pPr defTabSz="622300" fontAlgn="auto">
              <a:spcAft>
                <a:spcPct val="35000"/>
              </a:spcAft>
              <a:defRPr/>
            </a:pPr>
            <a:r>
              <a: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м закупок у субъектов  МСП Вологодской области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6446844" y="5235575"/>
            <a:ext cx="1282700" cy="577850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8890" tIns="8890" rIns="8890" bIns="8890" spcCol="1270" anchor="ctr"/>
          <a:lstStyle/>
          <a:p>
            <a:pPr algn="ctr" defTabSz="622300" fontAlgn="auto">
              <a:lnSpc>
                <a:spcPct val="80000"/>
              </a:lnSpc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3,3</a:t>
            </a:r>
            <a:r>
              <a:rPr lang="ru-RU" sz="14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4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622300" fontAlgn="auto">
              <a:lnSpc>
                <a:spcPct val="80000"/>
              </a:lnSpc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. руб.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6319844" y="6092825"/>
            <a:ext cx="1485900" cy="577850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8890" tIns="8890" rIns="8890" bIns="8890" spcCol="1270" anchor="ctr"/>
          <a:lstStyle/>
          <a:p>
            <a:pPr algn="ctr" defTabSz="622300" fontAlgn="auto">
              <a:lnSpc>
                <a:spcPct val="80000"/>
              </a:lnSpc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,38</a:t>
            </a:r>
            <a:r>
              <a:rPr lang="ru-RU" sz="14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4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622300" fontAlgn="auto">
              <a:lnSpc>
                <a:spcPct val="80000"/>
              </a:lnSpc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рд. руб.</a:t>
            </a:r>
          </a:p>
        </p:txBody>
      </p:sp>
      <p:pic>
        <p:nvPicPr>
          <p:cNvPr id="48" name="Picture 54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500826" y="3789363"/>
            <a:ext cx="2493963" cy="118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9" name="Picture 55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500826" y="2387602"/>
            <a:ext cx="2493963" cy="1327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0" name="Прямоугольник 100"/>
          <p:cNvSpPr>
            <a:spLocks noChangeArrowheads="1"/>
          </p:cNvSpPr>
          <p:nvPr/>
        </p:nvSpPr>
        <p:spPr bwMode="auto">
          <a:xfrm>
            <a:off x="600056" y="1720869"/>
            <a:ext cx="1176338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altLang="ru-RU" sz="1200" b="1" i="1" dirty="0">
                <a:latin typeface="Arial" pitchFamily="34" charset="0"/>
                <a:cs typeface="Tahoma" pitchFamily="34" charset="0"/>
              </a:rPr>
              <a:t>Суть проекта</a:t>
            </a:r>
          </a:p>
        </p:txBody>
      </p:sp>
      <p:sp>
        <p:nvSpPr>
          <p:cNvPr id="51" name="Прямоугольник 65"/>
          <p:cNvSpPr>
            <a:spLocks noChangeArrowheads="1"/>
          </p:cNvSpPr>
          <p:nvPr/>
        </p:nvSpPr>
        <p:spPr bwMode="auto">
          <a:xfrm>
            <a:off x="598469" y="5497531"/>
            <a:ext cx="1258887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altLang="ru-RU" sz="1200" b="1" i="1" dirty="0">
                <a:latin typeface="Arial" pitchFamily="34" charset="0"/>
                <a:cs typeface="Tahoma" pitchFamily="34" charset="0"/>
              </a:rPr>
              <a:t>Результат за </a:t>
            </a:r>
            <a:r>
              <a:rPr lang="ru-RU" altLang="ru-RU" sz="1200" b="1" i="1" dirty="0" smtClean="0">
                <a:latin typeface="Arial" pitchFamily="34" charset="0"/>
                <a:cs typeface="Tahoma" pitchFamily="34" charset="0"/>
              </a:rPr>
              <a:t>2014 год</a:t>
            </a:r>
            <a:endParaRPr lang="ru-RU" altLang="ru-RU" sz="1200" b="1" i="1" dirty="0">
              <a:latin typeface="Arial" pitchFamily="34" charset="0"/>
              <a:cs typeface="Tahoma" pitchFamily="34" charset="0"/>
            </a:endParaRPr>
          </a:p>
        </p:txBody>
      </p:sp>
      <p:sp>
        <p:nvSpPr>
          <p:cNvPr id="52" name="Прямоугольник 100"/>
          <p:cNvSpPr>
            <a:spLocks noChangeArrowheads="1"/>
          </p:cNvSpPr>
          <p:nvPr/>
        </p:nvSpPr>
        <p:spPr bwMode="auto">
          <a:xfrm>
            <a:off x="603231" y="2614631"/>
            <a:ext cx="1176338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altLang="ru-RU" sz="1200" b="1" i="1">
                <a:latin typeface="Arial" pitchFamily="34" charset="0"/>
                <a:cs typeface="Tahoma" pitchFamily="34" charset="0"/>
              </a:rPr>
              <a:t>Механизм</a:t>
            </a:r>
          </a:p>
        </p:txBody>
      </p:sp>
    </p:spTree>
    <p:extLst>
      <p:ext uri="{BB962C8B-B14F-4D97-AF65-F5344CB8AC3E}">
        <p14:creationId xmlns:p14="http://schemas.microsoft.com/office/powerpoint/2010/main" val="2019518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603051" y="1928802"/>
            <a:ext cx="754239" cy="4929198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 flipV="1">
            <a:off x="603052" y="2765409"/>
            <a:ext cx="8419863" cy="635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sysDot"/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Прямоугольник 54"/>
          <p:cNvSpPr>
            <a:spLocks noChangeArrowheads="1"/>
          </p:cNvSpPr>
          <p:nvPr/>
        </p:nvSpPr>
        <p:spPr bwMode="auto">
          <a:xfrm>
            <a:off x="531632" y="2000240"/>
            <a:ext cx="1157371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250" b="1" i="1" dirty="0" smtClean="0">
                <a:solidFill>
                  <a:prstClr val="black"/>
                </a:solidFill>
                <a:cs typeface="Tahoma" pitchFamily="34" charset="0"/>
              </a:rPr>
              <a:t>Суть</a:t>
            </a:r>
          </a:p>
        </p:txBody>
      </p:sp>
      <p:sp>
        <p:nvSpPr>
          <p:cNvPr id="13" name="Прямоугольник 1"/>
          <p:cNvSpPr>
            <a:spLocks noChangeArrowheads="1"/>
          </p:cNvSpPr>
          <p:nvPr/>
        </p:nvSpPr>
        <p:spPr bwMode="auto">
          <a:xfrm>
            <a:off x="603052" y="581199"/>
            <a:ext cx="8505452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altLang="ru-RU" sz="17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Финансовые инструменты поддержки предпринимателей: предоставление банковских поручительств и залогового имущества </a:t>
            </a:r>
            <a:endParaRPr lang="ru-RU" altLang="ru-RU" sz="17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2"/>
          <p:cNvSpPr txBox="1">
            <a:spLocks/>
          </p:cNvSpPr>
          <p:nvPr/>
        </p:nvSpPr>
        <p:spPr bwMode="auto">
          <a:xfrm>
            <a:off x="631517" y="93961"/>
            <a:ext cx="8512483" cy="1666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ru-RU" altLang="ru-RU" sz="1200" b="1" dirty="0" smtClean="0"/>
              <a:t>ПРАКТИКИ МУНИЦИПАЛЬНОГО ОБРАЗОВАНИЯ «ГОРОД ЧЕРЕПОВЕЦ»</a:t>
            </a:r>
            <a:endParaRPr lang="ru-RU" altLang="ru-RU" sz="1200" b="1" dirty="0"/>
          </a:p>
        </p:txBody>
      </p:sp>
      <p:sp>
        <p:nvSpPr>
          <p:cNvPr id="16" name="Номер слайда 2"/>
          <p:cNvSpPr txBox="1">
            <a:spLocks/>
          </p:cNvSpPr>
          <p:nvPr/>
        </p:nvSpPr>
        <p:spPr>
          <a:xfrm>
            <a:off x="53794" y="6446663"/>
            <a:ext cx="487363" cy="366713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>
              <a:defRPr/>
            </a:pPr>
            <a:fld id="{C45D8568-3546-4613-9456-5AC0D6096D5C}" type="slidenum">
              <a:rPr lang="ru-RU" sz="2000" b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/>
              </a:pPr>
              <a:t>6</a:t>
            </a:fld>
            <a:endParaRPr 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Прямоугольник 35"/>
          <p:cNvSpPr>
            <a:spLocks noChangeArrowheads="1"/>
          </p:cNvSpPr>
          <p:nvPr/>
        </p:nvSpPr>
        <p:spPr bwMode="auto">
          <a:xfrm>
            <a:off x="1319213" y="2020878"/>
            <a:ext cx="3719512" cy="738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534988"/>
            <a:r>
              <a:rPr lang="ru-RU" altLang="ru-RU" sz="1400">
                <a:latin typeface="Arial" pitchFamily="34" charset="0"/>
              </a:rPr>
              <a:t>Предоставление поручительств  по </a:t>
            </a:r>
          </a:p>
          <a:p>
            <a:pPr defTabSz="534988"/>
            <a:r>
              <a:rPr lang="ru-RU" altLang="ru-RU" sz="1400">
                <a:latin typeface="Arial" pitchFamily="34" charset="0"/>
              </a:rPr>
              <a:t>банковским кредитам и лизинговым договорам субъектам МСП </a:t>
            </a:r>
          </a:p>
        </p:txBody>
      </p:sp>
      <p:sp>
        <p:nvSpPr>
          <p:cNvPr id="18" name="Прямоугольник 7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184775" y="2000240"/>
            <a:ext cx="3748088" cy="738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altLang="ru-RU" sz="1400">
                <a:latin typeface="Arial" pitchFamily="34" charset="0"/>
              </a:rPr>
              <a:t>Имущество, находящееся в собственности города, выступает обеспечением исполнения обязательств инвестора</a:t>
            </a:r>
          </a:p>
        </p:txBody>
      </p:sp>
      <p:sp>
        <p:nvSpPr>
          <p:cNvPr id="19" name="Прямоугольник 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165350" y="1438252"/>
            <a:ext cx="21732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defTabSz="534988"/>
            <a:r>
              <a:rPr lang="ru-RU" altLang="ru-RU" sz="1400" b="1" dirty="0">
                <a:latin typeface="Arial" pitchFamily="34" charset="0"/>
              </a:rPr>
              <a:t>ГАРАНТИЙНЫЙ ФОНД</a:t>
            </a:r>
          </a:p>
        </p:txBody>
      </p:sp>
      <p:sp>
        <p:nvSpPr>
          <p:cNvPr id="20" name="Прямоугольник 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983288" y="1417614"/>
            <a:ext cx="197008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defTabSz="534988"/>
            <a:r>
              <a:rPr lang="ru-RU" altLang="ru-RU" sz="1400" b="1">
                <a:latin typeface="Arial" pitchFamily="34" charset="0"/>
              </a:rPr>
              <a:t>ЗАЛОГОВЫЙ ФОНД</a:t>
            </a:r>
          </a:p>
        </p:txBody>
      </p:sp>
      <p:sp>
        <p:nvSpPr>
          <p:cNvPr id="21" name="Прямоугольник 3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297518" y="3179778"/>
            <a:ext cx="3632200" cy="189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61950" defTabSz="534988" eaLnBrk="0" hangingPunct="0">
              <a:lnSpc>
                <a:spcPct val="90000"/>
              </a:lnSpc>
              <a:spcAft>
                <a:spcPts val="800"/>
              </a:spcAft>
            </a:pPr>
            <a:r>
              <a:rPr lang="ru-RU" altLang="ru-RU" sz="1200">
                <a:latin typeface="Arial" pitchFamily="34" charset="0"/>
              </a:rPr>
              <a:t>Для инвесторов, привлекающих заемные средства на реализацию приоритетных инвестиционных проектов</a:t>
            </a:r>
          </a:p>
          <a:p>
            <a:pPr marL="361950" defTabSz="534988" eaLnBrk="0" hangingPunct="0">
              <a:lnSpc>
                <a:spcPct val="90000"/>
              </a:lnSpc>
              <a:spcAft>
                <a:spcPts val="800"/>
              </a:spcAft>
            </a:pPr>
            <a:r>
              <a:rPr lang="ru-RU" altLang="ru-RU" sz="1200">
                <a:latin typeface="Arial" pitchFamily="34" charset="0"/>
              </a:rPr>
              <a:t>суммарная залоговая стоимость не  более 50 млн. руб.</a:t>
            </a:r>
          </a:p>
          <a:p>
            <a:pPr marL="361950" defTabSz="534988" eaLnBrk="0" hangingPunct="0">
              <a:lnSpc>
                <a:spcPct val="90000"/>
              </a:lnSpc>
              <a:spcAft>
                <a:spcPts val="800"/>
              </a:spcAft>
            </a:pPr>
            <a:r>
              <a:rPr lang="ru-RU" altLang="ru-RU" sz="1200">
                <a:latin typeface="Arial" pitchFamily="34" charset="0"/>
              </a:rPr>
              <a:t>объём залога не более 30 % от суммы привлекаемых кредитных средств</a:t>
            </a:r>
          </a:p>
          <a:p>
            <a:pPr marL="361950" defTabSz="534988" eaLnBrk="0" hangingPunct="0">
              <a:lnSpc>
                <a:spcPct val="90000"/>
              </a:lnSpc>
              <a:spcAft>
                <a:spcPts val="800"/>
              </a:spcAft>
            </a:pPr>
            <a:r>
              <a:rPr lang="ru-RU" altLang="ru-RU" sz="1200">
                <a:latin typeface="Arial" pitchFamily="34" charset="0"/>
              </a:rPr>
              <a:t>залоговое обеспечение выдается на срок  не более 18 мес.</a:t>
            </a:r>
          </a:p>
        </p:txBody>
      </p:sp>
      <p:sp>
        <p:nvSpPr>
          <p:cNvPr id="22" name="Прямоугольник 65"/>
          <p:cNvSpPr>
            <a:spLocks noChangeArrowheads="1"/>
          </p:cNvSpPr>
          <p:nvPr/>
        </p:nvSpPr>
        <p:spPr bwMode="auto">
          <a:xfrm>
            <a:off x="1699474" y="5956300"/>
            <a:ext cx="740197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3">
            <a:spAutoFit/>
          </a:bodyPr>
          <a:lstStyle/>
          <a:p>
            <a:pPr>
              <a:defRPr/>
            </a:pPr>
            <a:r>
              <a:rPr lang="ru-RU" altLang="ru-RU" sz="1200" dirty="0">
                <a:latin typeface="Arial" pitchFamily="34" charset="0"/>
              </a:rPr>
              <a:t>ОАО «Сбербанк России»</a:t>
            </a:r>
          </a:p>
          <a:p>
            <a:pPr>
              <a:defRPr/>
            </a:pPr>
            <a:r>
              <a:rPr lang="ru-RU" altLang="ru-RU" sz="1200" dirty="0">
                <a:latin typeface="Arial" pitchFamily="34" charset="0"/>
              </a:rPr>
              <a:t>ОАО «Северный Кредит»</a:t>
            </a:r>
          </a:p>
          <a:p>
            <a:pPr>
              <a:defRPr/>
            </a:pPr>
            <a:r>
              <a:rPr lang="ru-RU" altLang="ru-RU" sz="1200" dirty="0">
                <a:latin typeface="Arial" pitchFamily="34" charset="0"/>
              </a:rPr>
              <a:t>ОАО «Банк СГБ»</a:t>
            </a:r>
          </a:p>
        </p:txBody>
      </p:sp>
      <p:sp>
        <p:nvSpPr>
          <p:cNvPr id="23" name="Прямоугольник 3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419256" y="2819416"/>
            <a:ext cx="3630612" cy="2824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defTabSz="534988">
              <a:spcAft>
                <a:spcPts val="800"/>
              </a:spcAft>
              <a:defRPr/>
            </a:pPr>
            <a:r>
              <a:rPr lang="ru-RU" altLang="ru-RU" sz="1200" b="1" dirty="0">
                <a:latin typeface="Arial" pitchFamily="34" charset="0"/>
              </a:rPr>
              <a:t>По банковским кредитам:</a:t>
            </a:r>
          </a:p>
          <a:p>
            <a:pPr marL="361950" defTabSz="534988" eaLnBrk="0" hangingPunct="0">
              <a:lnSpc>
                <a:spcPct val="90000"/>
              </a:lnSpc>
              <a:spcAft>
                <a:spcPts val="800"/>
              </a:spcAft>
              <a:defRPr/>
            </a:pPr>
            <a:r>
              <a:rPr lang="ru-RU" altLang="ru-RU" sz="1200" dirty="0">
                <a:latin typeface="Arial" pitchFamily="34" charset="0"/>
              </a:rPr>
              <a:t>В размере  до 30 млн. руб.</a:t>
            </a:r>
          </a:p>
          <a:p>
            <a:pPr marL="361950" defTabSz="534988" eaLnBrk="0" hangingPunct="0">
              <a:lnSpc>
                <a:spcPct val="90000"/>
              </a:lnSpc>
              <a:spcAft>
                <a:spcPts val="800"/>
              </a:spcAft>
              <a:defRPr/>
            </a:pPr>
            <a:r>
              <a:rPr lang="ru-RU" altLang="ru-RU" sz="1200" dirty="0">
                <a:latin typeface="Arial" pitchFamily="34" charset="0"/>
              </a:rPr>
              <a:t>По кредитам на срок от 1 до10 лет, в сумме свыше 1 млн. руб.</a:t>
            </a:r>
          </a:p>
          <a:p>
            <a:pPr marL="361950" defTabSz="534988" eaLnBrk="0" hangingPunct="0">
              <a:lnSpc>
                <a:spcPct val="90000"/>
              </a:lnSpc>
              <a:spcAft>
                <a:spcPts val="800"/>
              </a:spcAft>
              <a:defRPr/>
            </a:pPr>
            <a:r>
              <a:rPr lang="ru-RU" altLang="ru-RU" sz="1200" dirty="0">
                <a:latin typeface="Arial" pitchFamily="34" charset="0"/>
              </a:rPr>
              <a:t>Размер поручительства: до 70% от суммы кредитного договора</a:t>
            </a:r>
          </a:p>
          <a:p>
            <a:pPr algn="ctr" defTabSz="534988" eaLnBrk="0" hangingPunct="0">
              <a:lnSpc>
                <a:spcPct val="90000"/>
              </a:lnSpc>
              <a:spcAft>
                <a:spcPts val="800"/>
              </a:spcAft>
              <a:defRPr/>
            </a:pPr>
            <a:r>
              <a:rPr lang="ru-RU" altLang="ru-RU" sz="1200" b="1" dirty="0">
                <a:latin typeface="Arial" pitchFamily="34" charset="0"/>
              </a:rPr>
              <a:t>По лизинговым договорам:</a:t>
            </a:r>
          </a:p>
          <a:p>
            <a:pPr marL="361950" defTabSz="534988" eaLnBrk="0" hangingPunct="0">
              <a:lnSpc>
                <a:spcPct val="90000"/>
              </a:lnSpc>
              <a:spcAft>
                <a:spcPts val="800"/>
              </a:spcAft>
              <a:defRPr/>
            </a:pPr>
            <a:r>
              <a:rPr lang="ru-RU" altLang="ru-RU" sz="1200" dirty="0">
                <a:latin typeface="Arial" pitchFamily="34" charset="0"/>
              </a:rPr>
              <a:t>В размере  до 3 млн. руб.</a:t>
            </a:r>
          </a:p>
          <a:p>
            <a:pPr marL="361950" defTabSz="534988" eaLnBrk="0" hangingPunct="0">
              <a:lnSpc>
                <a:spcPct val="90000"/>
              </a:lnSpc>
              <a:spcAft>
                <a:spcPts val="800"/>
              </a:spcAft>
              <a:defRPr/>
            </a:pPr>
            <a:r>
              <a:rPr lang="ru-RU" altLang="ru-RU" sz="1200" dirty="0">
                <a:latin typeface="Arial" pitchFamily="34" charset="0"/>
              </a:rPr>
              <a:t>По лизинговым договорам на срок от 1 до 3 лет, в сумме от 600 тыс. руб.</a:t>
            </a:r>
          </a:p>
          <a:p>
            <a:pPr marL="361950" defTabSz="534988" eaLnBrk="0" hangingPunct="0">
              <a:lnSpc>
                <a:spcPct val="90000"/>
              </a:lnSpc>
              <a:spcAft>
                <a:spcPts val="800"/>
              </a:spcAft>
              <a:defRPr/>
            </a:pPr>
            <a:r>
              <a:rPr lang="ru-RU" altLang="ru-RU" sz="1200" dirty="0">
                <a:latin typeface="Arial" pitchFamily="34" charset="0"/>
              </a:rPr>
              <a:t>Размер поручительства -  до 50% от суммы лизингового договора</a:t>
            </a:r>
          </a:p>
        </p:txBody>
      </p:sp>
      <p:grpSp>
        <p:nvGrpSpPr>
          <p:cNvPr id="24" name="Группа 94"/>
          <p:cNvGrpSpPr/>
          <p:nvPr/>
        </p:nvGrpSpPr>
        <p:grpSpPr>
          <a:xfrm>
            <a:off x="1510168" y="3395554"/>
            <a:ext cx="288000" cy="180000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25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26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27" name="Группа 97"/>
          <p:cNvGrpSpPr/>
          <p:nvPr/>
        </p:nvGrpSpPr>
        <p:grpSpPr>
          <a:xfrm>
            <a:off x="1508655" y="3827005"/>
            <a:ext cx="288000" cy="180000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28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29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30" name="Группа 100"/>
          <p:cNvGrpSpPr/>
          <p:nvPr/>
        </p:nvGrpSpPr>
        <p:grpSpPr>
          <a:xfrm>
            <a:off x="1500585" y="4475077"/>
            <a:ext cx="288000" cy="180000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31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32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33" name="Группа 103"/>
          <p:cNvGrpSpPr/>
          <p:nvPr/>
        </p:nvGrpSpPr>
        <p:grpSpPr>
          <a:xfrm>
            <a:off x="1503890" y="4763706"/>
            <a:ext cx="288000" cy="180000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34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35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36" name="Группа 106"/>
          <p:cNvGrpSpPr/>
          <p:nvPr/>
        </p:nvGrpSpPr>
        <p:grpSpPr>
          <a:xfrm>
            <a:off x="1503890" y="5144346"/>
            <a:ext cx="288000" cy="180000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37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38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39" name="Группа 109"/>
          <p:cNvGrpSpPr/>
          <p:nvPr/>
        </p:nvGrpSpPr>
        <p:grpSpPr>
          <a:xfrm>
            <a:off x="1517681" y="3106925"/>
            <a:ext cx="288000" cy="180000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40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41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42" name="Группа 115"/>
          <p:cNvGrpSpPr/>
          <p:nvPr/>
        </p:nvGrpSpPr>
        <p:grpSpPr>
          <a:xfrm>
            <a:off x="5373060" y="3823656"/>
            <a:ext cx="288000" cy="180000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43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44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45" name="Группа 118"/>
          <p:cNvGrpSpPr/>
          <p:nvPr/>
        </p:nvGrpSpPr>
        <p:grpSpPr>
          <a:xfrm>
            <a:off x="5364990" y="4255704"/>
            <a:ext cx="288000" cy="180000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46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47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48" name="Группа 124"/>
          <p:cNvGrpSpPr/>
          <p:nvPr/>
        </p:nvGrpSpPr>
        <p:grpSpPr>
          <a:xfrm>
            <a:off x="5368295" y="4687752"/>
            <a:ext cx="288000" cy="180000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49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50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51" name="Группа 127"/>
          <p:cNvGrpSpPr/>
          <p:nvPr/>
        </p:nvGrpSpPr>
        <p:grpSpPr>
          <a:xfrm>
            <a:off x="5382086" y="3218139"/>
            <a:ext cx="288000" cy="180000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52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charset="0"/>
              </a:endParaRPr>
            </a:p>
          </p:txBody>
        </p:sp>
        <p:sp>
          <p:nvSpPr>
            <p:cNvPr id="53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54" name="Прямоугольник с одним вырезанным углом 53"/>
          <p:cNvSpPr/>
          <p:nvPr/>
        </p:nvSpPr>
        <p:spPr bwMode="auto">
          <a:xfrm rot="16200000">
            <a:off x="4663281" y="2340770"/>
            <a:ext cx="1152525" cy="7650162"/>
          </a:xfrm>
          <a:prstGeom prst="snip1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90000" tIns="46800" rIns="90000" bIns="46800" anchor="ctr"/>
          <a:lstStyle/>
          <a:p>
            <a:pPr>
              <a:defRPr/>
            </a:pPr>
            <a:endParaRPr lang="ru-RU">
              <a:latin typeface="Arial" charset="0"/>
              <a:cs typeface="Arial" charset="0"/>
            </a:endParaRPr>
          </a:p>
        </p:txBody>
      </p:sp>
      <p:sp>
        <p:nvSpPr>
          <p:cNvPr id="55" name="Прямоугольник 2"/>
          <p:cNvSpPr>
            <a:spLocks noChangeArrowheads="1"/>
          </p:cNvSpPr>
          <p:nvPr/>
        </p:nvSpPr>
        <p:spPr bwMode="auto">
          <a:xfrm>
            <a:off x="1703388" y="5589588"/>
            <a:ext cx="39751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534988"/>
            <a:r>
              <a:rPr lang="ru-RU" altLang="ru-RU" sz="1400" b="1">
                <a:latin typeface="Arial" pitchFamily="34" charset="0"/>
              </a:rPr>
              <a:t>Партнеры Гарантийного фонда</a:t>
            </a:r>
          </a:p>
        </p:txBody>
      </p:sp>
      <p:sp>
        <p:nvSpPr>
          <p:cNvPr id="56" name="Прямоугольник 65"/>
          <p:cNvSpPr>
            <a:spLocks noChangeArrowheads="1"/>
          </p:cNvSpPr>
          <p:nvPr/>
        </p:nvSpPr>
        <p:spPr bwMode="auto">
          <a:xfrm>
            <a:off x="1403648" y="6023029"/>
            <a:ext cx="740197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3">
            <a:spAutoFit/>
          </a:bodyPr>
          <a:lstStyle/>
          <a:p>
            <a:pPr>
              <a:defRPr/>
            </a:pPr>
            <a:r>
              <a:rPr lang="ru-RU" altLang="ru-RU" sz="1200" dirty="0">
                <a:latin typeface="Arial" pitchFamily="34" charset="0"/>
              </a:rPr>
              <a:t>ОАО «Сбербанк России»</a:t>
            </a:r>
          </a:p>
          <a:p>
            <a:pPr>
              <a:defRPr/>
            </a:pPr>
            <a:r>
              <a:rPr lang="ru-RU" altLang="ru-RU" sz="1200" dirty="0">
                <a:latin typeface="Arial" pitchFamily="34" charset="0"/>
              </a:rPr>
              <a:t>ОАО «Северный Кредит»</a:t>
            </a:r>
          </a:p>
          <a:p>
            <a:pPr>
              <a:defRPr/>
            </a:pPr>
            <a:r>
              <a:rPr lang="ru-RU" altLang="ru-RU" sz="1200" dirty="0">
                <a:latin typeface="Arial" pitchFamily="34" charset="0"/>
              </a:rPr>
              <a:t>ОАО «Банк СГБ»</a:t>
            </a:r>
          </a:p>
        </p:txBody>
      </p:sp>
      <p:sp>
        <p:nvSpPr>
          <p:cNvPr id="57" name="Прямоугольник 3"/>
          <p:cNvSpPr>
            <a:spLocks noChangeArrowheads="1"/>
          </p:cNvSpPr>
          <p:nvPr/>
        </p:nvSpPr>
        <p:spPr bwMode="auto">
          <a:xfrm>
            <a:off x="5040313" y="6016625"/>
            <a:ext cx="4572000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altLang="ru-RU" sz="1200">
                <a:solidFill>
                  <a:srgbClr val="000000"/>
                </a:solidFill>
                <a:latin typeface="Arial" pitchFamily="34" charset="0"/>
              </a:rPr>
              <a:t>ОАО «Банк «Вологжанин»</a:t>
            </a:r>
          </a:p>
          <a:p>
            <a:r>
              <a:rPr lang="ru-RU" altLang="ru-RU" sz="1200">
                <a:solidFill>
                  <a:srgbClr val="000000"/>
                </a:solidFill>
                <a:latin typeface="Arial" pitchFamily="34" charset="0"/>
              </a:rPr>
              <a:t>ОАО  «ИНВЕСТТОРГБАНК»</a:t>
            </a:r>
          </a:p>
          <a:p>
            <a:r>
              <a:rPr lang="ru-RU" sz="1200">
                <a:latin typeface="Arial" pitchFamily="34" charset="0"/>
              </a:rPr>
              <a:t>ЗАО «МИК»</a:t>
            </a:r>
          </a:p>
        </p:txBody>
      </p:sp>
      <p:sp>
        <p:nvSpPr>
          <p:cNvPr id="58" name="Прямоугольник 4"/>
          <p:cNvSpPr>
            <a:spLocks noChangeArrowheads="1"/>
          </p:cNvSpPr>
          <p:nvPr/>
        </p:nvSpPr>
        <p:spPr bwMode="auto">
          <a:xfrm>
            <a:off x="5040313" y="5614988"/>
            <a:ext cx="4572000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200">
                <a:solidFill>
                  <a:srgbClr val="000000"/>
                </a:solidFill>
                <a:latin typeface="Arial" pitchFamily="34" charset="0"/>
              </a:rPr>
              <a:t>ЗАО «Банк «Вологжанин»</a:t>
            </a:r>
          </a:p>
          <a:p>
            <a:r>
              <a:rPr lang="ru-RU" sz="1200">
                <a:solidFill>
                  <a:srgbClr val="000000"/>
                </a:solidFill>
                <a:latin typeface="Arial" pitchFamily="34" charset="0"/>
              </a:rPr>
              <a:t>ООО «СГБ-лизинг»</a:t>
            </a:r>
          </a:p>
        </p:txBody>
      </p:sp>
      <p:pic>
        <p:nvPicPr>
          <p:cNvPr id="59" name="Рисунок 70"/>
          <p:cNvPicPr>
            <a:picLocks noChangeAspect="1" noChangeArrowheads="1"/>
          </p:cNvPicPr>
          <p:nvPr/>
        </p:nvPicPr>
        <p:blipFill>
          <a:blip r:embed="rId8"/>
          <a:srcRect l="11124" t="10835" r="77534" b="79337"/>
          <a:stretch>
            <a:fillRect/>
          </a:stretch>
        </p:blipFill>
        <p:spPr bwMode="auto">
          <a:xfrm>
            <a:off x="7421563" y="5829300"/>
            <a:ext cx="1522412" cy="671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0" name="Группа 25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4476750" y="2038340"/>
            <a:ext cx="560388" cy="539750"/>
            <a:chOff x="6786578" y="4071942"/>
            <a:chExt cx="1727501" cy="1500198"/>
          </a:xfrm>
        </p:grpSpPr>
        <p:pic>
          <p:nvPicPr>
            <p:cNvPr id="61" name="Picture 2" descr="http://www.fondmsp.ru/upload/medialibrary/442/4425e43e0cf99dee9b1027b56272e9cf.JPG"/>
            <p:cNvPicPr>
              <a:picLocks noChangeAspect="1" noChangeArrowheads="1"/>
            </p:cNvPicPr>
            <p:nvPr/>
          </p:nvPicPr>
          <p:blipFill>
            <a:blip r:embed="rId9"/>
            <a:srcRect l="68256" t="4839" r="5518" b="85887"/>
            <a:stretch>
              <a:fillRect/>
            </a:stretch>
          </p:blipFill>
          <p:spPr bwMode="auto">
            <a:xfrm rot="-5400000">
              <a:off x="6224004" y="4634516"/>
              <a:ext cx="1500198" cy="3750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2" name="Picture 2" descr="http://www.fondmsp.ru/upload/medialibrary/442/4425e43e0cf99dee9b1027b56272e9cf.JPG"/>
            <p:cNvPicPr>
              <a:picLocks noChangeAspect="1" noChangeArrowheads="1"/>
            </p:cNvPicPr>
            <p:nvPr/>
          </p:nvPicPr>
          <p:blipFill>
            <a:blip r:embed="rId10"/>
            <a:srcRect l="60059" t="21288" r="5518" b="27693"/>
            <a:stretch>
              <a:fillRect/>
            </a:stretch>
          </p:blipFill>
          <p:spPr bwMode="auto">
            <a:xfrm>
              <a:off x="7143768" y="4071942"/>
              <a:ext cx="1370311" cy="14359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64" name="Прямоугольник 80"/>
          <p:cNvSpPr>
            <a:spLocks noChangeArrowheads="1"/>
          </p:cNvSpPr>
          <p:nvPr/>
        </p:nvSpPr>
        <p:spPr bwMode="auto">
          <a:xfrm>
            <a:off x="565162" y="2906725"/>
            <a:ext cx="143986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altLang="ru-RU" sz="1200" b="1" i="1">
                <a:latin typeface="Arial" pitchFamily="34" charset="0"/>
                <a:cs typeface="Tahoma" pitchFamily="34" charset="0"/>
              </a:rPr>
              <a:t>Условия</a:t>
            </a:r>
          </a:p>
        </p:txBody>
      </p:sp>
      <p:grpSp>
        <p:nvGrpSpPr>
          <p:cNvPr id="65" name="Группа 64"/>
          <p:cNvGrpSpPr>
            <a:grpSpLocks/>
          </p:cNvGrpSpPr>
          <p:nvPr/>
        </p:nvGrpSpPr>
        <p:grpSpPr bwMode="auto">
          <a:xfrm>
            <a:off x="1155700" y="1733540"/>
            <a:ext cx="7821613" cy="338138"/>
            <a:chOff x="396081" y="1558555"/>
            <a:chExt cx="4936332" cy="338408"/>
          </a:xfrm>
        </p:grpSpPr>
        <p:grpSp>
          <p:nvGrpSpPr>
            <p:cNvPr id="66" name="Группа 5"/>
            <p:cNvGrpSpPr>
              <a:grpSpLocks/>
            </p:cNvGrpSpPr>
            <p:nvPr/>
          </p:nvGrpSpPr>
          <p:grpSpPr bwMode="auto">
            <a:xfrm>
              <a:off x="509296" y="1563315"/>
              <a:ext cx="4823117" cy="182707"/>
              <a:chOff x="1276544" y="2375186"/>
              <a:chExt cx="5181524" cy="284619"/>
            </a:xfrm>
          </p:grpSpPr>
          <p:sp>
            <p:nvSpPr>
              <p:cNvPr id="72" name="AutoShape 14"/>
              <p:cNvSpPr>
                <a:spLocks noChangeArrowheads="1"/>
              </p:cNvSpPr>
              <p:nvPr/>
            </p:nvSpPr>
            <p:spPr bwMode="auto">
              <a:xfrm rot="5400000">
                <a:off x="5043786" y="1233149"/>
                <a:ext cx="272245" cy="2556319"/>
              </a:xfrm>
              <a:prstGeom prst="homePlate">
                <a:avLst>
                  <a:gd name="adj" fmla="val 25000"/>
                </a:avLst>
              </a:prstGeom>
              <a:solidFill>
                <a:schemeClr val="bg1">
                  <a:lumMod val="85000"/>
                </a:schemeClr>
              </a:solidFill>
              <a:ln w="9525">
                <a:noFill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16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 sz="16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16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16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16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altLang="ru-RU" dirty="0">
                  <a:latin typeface="Arial" panose="020B0604020202020204" pitchFamily="34" charset="0"/>
                </a:endParaRPr>
              </a:p>
            </p:txBody>
          </p:sp>
          <p:sp>
            <p:nvSpPr>
              <p:cNvPr id="73" name="AutoShape 14"/>
              <p:cNvSpPr>
                <a:spLocks noChangeArrowheads="1"/>
              </p:cNvSpPr>
              <p:nvPr/>
            </p:nvSpPr>
            <p:spPr bwMode="auto">
              <a:xfrm rot="5400000">
                <a:off x="2395977" y="1268127"/>
                <a:ext cx="272245" cy="2511112"/>
              </a:xfrm>
              <a:prstGeom prst="homePlate">
                <a:avLst>
                  <a:gd name="adj" fmla="val 25000"/>
                </a:avLst>
              </a:prstGeom>
              <a:solidFill>
                <a:schemeClr val="bg1">
                  <a:lumMod val="85000"/>
                </a:schemeClr>
              </a:solidFill>
              <a:ln w="9525">
                <a:noFill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 sz="16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defRPr sz="16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defRPr sz="16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defRPr sz="16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defRPr sz="16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altLang="ru-RU" dirty="0">
                  <a:latin typeface="Arial" panose="020B0604020202020204" pitchFamily="34" charset="0"/>
                </a:endParaRPr>
              </a:p>
            </p:txBody>
          </p:sp>
        </p:grpSp>
        <p:grpSp>
          <p:nvGrpSpPr>
            <p:cNvPr id="67" name="Group 4"/>
            <p:cNvGrpSpPr>
              <a:grpSpLocks/>
            </p:cNvGrpSpPr>
            <p:nvPr/>
          </p:nvGrpSpPr>
          <p:grpSpPr bwMode="auto">
            <a:xfrm>
              <a:off x="396081" y="-402831"/>
              <a:ext cx="4930799" cy="169"/>
              <a:chOff x="261" y="980"/>
              <a:chExt cx="3118" cy="169"/>
            </a:xfrm>
          </p:grpSpPr>
          <p:grpSp>
            <p:nvGrpSpPr>
              <p:cNvPr id="68" name="Group 5"/>
              <p:cNvGrpSpPr>
                <a:grpSpLocks/>
              </p:cNvGrpSpPr>
              <p:nvPr/>
            </p:nvGrpSpPr>
            <p:grpSpPr bwMode="auto">
              <a:xfrm>
                <a:off x="261" y="980"/>
                <a:ext cx="1550" cy="169"/>
                <a:chOff x="218" y="980"/>
                <a:chExt cx="2543" cy="169"/>
              </a:xfrm>
            </p:grpSpPr>
            <p:sp>
              <p:nvSpPr>
                <p:cNvPr id="70" name="Line 7"/>
                <p:cNvSpPr>
                  <a:spLocks noChangeShapeType="1"/>
                </p:cNvSpPr>
                <p:nvPr/>
              </p:nvSpPr>
              <p:spPr bwMode="auto">
                <a:xfrm>
                  <a:off x="336" y="980"/>
                  <a:ext cx="2425" cy="0"/>
                </a:xfrm>
                <a:prstGeom prst="line">
                  <a:avLst/>
                </a:prstGeom>
                <a:noFill/>
                <a:ln w="28575">
                  <a:solidFill>
                    <a:schemeClr val="accent1"/>
                  </a:solidFill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ru-RU"/>
                </a:p>
              </p:txBody>
            </p:sp>
            <p:sp>
              <p:nvSpPr>
                <p:cNvPr id="71" name="Rectangle 8"/>
                <p:cNvSpPr>
                  <a:spLocks noChangeArrowheads="1"/>
                </p:cNvSpPr>
                <p:nvPr/>
              </p:nvSpPr>
              <p:spPr bwMode="auto">
                <a:xfrm>
                  <a:off x="218" y="1059"/>
                  <a:ext cx="2417" cy="9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3810" tIns="0" rIns="3810" bIns="0">
                  <a:spAutoFit/>
                </a:bodyPr>
                <a:lstStyle>
                  <a:lvl1pPr marL="342900" indent="-342900" defTabSz="895350" eaLnBrk="0" hangingPunct="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193675" indent="-192088" defTabSz="895350" eaLnBrk="0" hangingPunct="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 defTabSz="895350" eaLnBrk="0" hangingPunct="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 defTabSz="895350" eaLnBrk="0" hangingPunct="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 defTabSz="895350" eaLnBrk="0" hangingPunct="0"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defTabSz="89535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defTabSz="89535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defTabSz="89535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defTabSz="89535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6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marL="0" indent="0" fontAlgn="auto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ru-RU" altLang="ru-RU" sz="1300" b="1" kern="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</a:endParaRPr>
                </a:p>
              </p:txBody>
            </p:sp>
          </p:grpSp>
          <p:sp>
            <p:nvSpPr>
              <p:cNvPr id="69" name="Line 11"/>
              <p:cNvSpPr>
                <a:spLocks noChangeShapeType="1"/>
              </p:cNvSpPr>
              <p:nvPr/>
            </p:nvSpPr>
            <p:spPr bwMode="auto">
              <a:xfrm>
                <a:off x="1878" y="980"/>
                <a:ext cx="1501" cy="0"/>
              </a:xfrm>
              <a:prstGeom prst="line">
                <a:avLst/>
              </a:prstGeom>
              <a:noFill/>
              <a:ln w="28575">
                <a:solidFill>
                  <a:schemeClr val="accent1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ru-RU"/>
              </a:p>
            </p:txBody>
          </p:sp>
        </p:grpSp>
      </p:grpSp>
      <p:sp>
        <p:nvSpPr>
          <p:cNvPr id="76" name="Line 7"/>
          <p:cNvSpPr>
            <a:spLocks noChangeShapeType="1"/>
          </p:cNvSpPr>
          <p:nvPr/>
        </p:nvSpPr>
        <p:spPr bwMode="auto">
          <a:xfrm>
            <a:off x="1335919" y="1733540"/>
            <a:ext cx="3703652" cy="0"/>
          </a:xfrm>
          <a:prstGeom prst="line">
            <a:avLst/>
          </a:prstGeom>
          <a:noFill/>
          <a:ln w="28575">
            <a:solidFill>
              <a:srgbClr val="C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77" name="Line 11"/>
          <p:cNvSpPr>
            <a:spLocks noChangeShapeType="1"/>
          </p:cNvSpPr>
          <p:nvPr/>
        </p:nvSpPr>
        <p:spPr bwMode="auto">
          <a:xfrm>
            <a:off x="5207455" y="1733540"/>
            <a:ext cx="3761091" cy="0"/>
          </a:xfrm>
          <a:prstGeom prst="line">
            <a:avLst/>
          </a:prstGeom>
          <a:noFill/>
          <a:ln w="28575">
            <a:solidFill>
              <a:srgbClr val="C0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19518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"/>
          <p:cNvSpPr>
            <a:spLocks noChangeArrowheads="1"/>
          </p:cNvSpPr>
          <p:nvPr/>
        </p:nvSpPr>
        <p:spPr bwMode="auto">
          <a:xfrm>
            <a:off x="603052" y="455993"/>
            <a:ext cx="8505452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altLang="ru-RU" sz="17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инимается участие в развитии института государственно-частного партнерства на федеральном, региональном, муниципальном уровнях</a:t>
            </a:r>
          </a:p>
        </p:txBody>
      </p:sp>
      <p:sp>
        <p:nvSpPr>
          <p:cNvPr id="14" name="Title 2"/>
          <p:cNvSpPr txBox="1">
            <a:spLocks/>
          </p:cNvSpPr>
          <p:nvPr/>
        </p:nvSpPr>
        <p:spPr bwMode="auto">
          <a:xfrm>
            <a:off x="631517" y="93961"/>
            <a:ext cx="8512483" cy="1661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ru-RU" altLang="ru-RU" sz="1200" b="1" dirty="0" smtClean="0"/>
              <a:t>РЕАЛИЗАЦИЯ ИНВЕСТИЦИОННЫХ ПРОЕКТОВ НА ОСНОВЕ ГЧП</a:t>
            </a:r>
          </a:p>
        </p:txBody>
      </p:sp>
      <p:sp>
        <p:nvSpPr>
          <p:cNvPr id="16" name="Номер слайда 2"/>
          <p:cNvSpPr txBox="1">
            <a:spLocks/>
          </p:cNvSpPr>
          <p:nvPr/>
        </p:nvSpPr>
        <p:spPr>
          <a:xfrm>
            <a:off x="53794" y="6446663"/>
            <a:ext cx="487363" cy="366713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>
              <a:defRPr/>
            </a:pPr>
            <a:fld id="{C45D8568-3546-4613-9456-5AC0D6096D5C}" type="slidenum">
              <a:rPr lang="ru-RU" sz="2000" b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/>
              </a:pPr>
              <a:t>7</a:t>
            </a:fld>
            <a:endParaRPr 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6" name="Таблица 65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3590470"/>
              </p:ext>
            </p:extLst>
          </p:nvPr>
        </p:nvGraphicFramePr>
        <p:xfrm>
          <a:off x="866779" y="4056006"/>
          <a:ext cx="3786214" cy="232787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30601"/>
                <a:gridCol w="3255613"/>
              </a:tblGrid>
              <a:tr h="683711">
                <a:tc>
                  <a:txBody>
                    <a:bodyPr/>
                    <a:lstStyle/>
                    <a:p>
                      <a:pPr algn="l" fontAlgn="ctr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635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ts val="600"/>
                        </a:spcAft>
                      </a:pPr>
                      <a:r>
                        <a:rPr lang="ru-RU" altLang="ru-RU" sz="1300" b="1" dirty="0" smtClean="0">
                          <a:latin typeface="Arial" pitchFamily="34" charset="0"/>
                          <a:cs typeface="Tahoma" pitchFamily="34" charset="0"/>
                        </a:rPr>
                        <a:t>«Реанимация» неликвидного муниципального имущества.</a:t>
                      </a:r>
                    </a:p>
                  </a:txBody>
                  <a:tcPr marL="9525" marR="9525" marT="9525" marB="0" anchor="ctr">
                    <a:lnB w="635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78020">
                <a:tc>
                  <a:txBody>
                    <a:bodyPr/>
                    <a:lstStyle/>
                    <a:p>
                      <a:pPr algn="l" fontAlgn="ctr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ts val="600"/>
                        </a:spcAft>
                      </a:pPr>
                      <a:r>
                        <a:rPr lang="ru-RU" altLang="ru-RU" sz="1300" b="1" dirty="0" smtClean="0">
                          <a:latin typeface="Arial" pitchFamily="34" charset="0"/>
                          <a:cs typeface="Tahoma" pitchFamily="34" charset="0"/>
                        </a:rPr>
                        <a:t>Воссоздание и современная эксплуатация объектов культурного наследия с сохранением муниципальной собственности.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0221">
                <a:tc>
                  <a:txBody>
                    <a:bodyPr/>
                    <a:lstStyle/>
                    <a:p>
                      <a:pPr algn="l" fontAlgn="ctr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ts val="600"/>
                        </a:spcAft>
                      </a:pPr>
                      <a:r>
                        <a:rPr lang="ru-RU" altLang="ru-RU" sz="1300" b="1" dirty="0" smtClean="0">
                          <a:latin typeface="Arial" pitchFamily="34" charset="0"/>
                          <a:cs typeface="Tahoma" pitchFamily="34" charset="0"/>
                        </a:rPr>
                        <a:t>Стабильный и долгосрочный период поступлений в бюджет</a:t>
                      </a:r>
                      <a:endParaRPr lang="ru-RU" altLang="ru-RU" sz="1300" b="1" dirty="0">
                        <a:latin typeface="Arial" pitchFamily="34" charset="0"/>
                        <a:cs typeface="Tahoma" pitchFamily="34" charset="0"/>
                      </a:endParaRP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67" name="Таблица 66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503545"/>
              </p:ext>
            </p:extLst>
          </p:nvPr>
        </p:nvGraphicFramePr>
        <p:xfrm>
          <a:off x="4965653" y="4071942"/>
          <a:ext cx="3821189" cy="264320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21304"/>
                <a:gridCol w="3299885"/>
              </a:tblGrid>
              <a:tr h="725689">
                <a:tc>
                  <a:txBody>
                    <a:bodyPr/>
                    <a:lstStyle/>
                    <a:p>
                      <a:pPr algn="l" fontAlgn="ctr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B w="635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ts val="600"/>
                        </a:spcAft>
                      </a:pPr>
                      <a:r>
                        <a:rPr lang="ru-RU" altLang="ru-RU" sz="1300" b="1" dirty="0" smtClean="0">
                          <a:latin typeface="Arial" pitchFamily="34" charset="0"/>
                          <a:cs typeface="Tahoma" pitchFamily="34" charset="0"/>
                        </a:rPr>
                        <a:t>Фиксация расходов инвестора на длительный срок: 30 лет средний срок концессионного соглашения по РФ.</a:t>
                      </a:r>
                    </a:p>
                  </a:txBody>
                  <a:tcPr marL="9525" marR="9525" marT="9525" marB="0" anchor="ctr">
                    <a:lnB w="635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137046">
                <a:tc>
                  <a:txBody>
                    <a:bodyPr/>
                    <a:lstStyle/>
                    <a:p>
                      <a:pPr algn="l" fontAlgn="ctr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ts val="600"/>
                        </a:spcAft>
                      </a:pPr>
                      <a:r>
                        <a:rPr lang="ru-RU" altLang="ru-RU" sz="1300" b="1" dirty="0" smtClean="0">
                          <a:latin typeface="Arial" pitchFamily="34" charset="0"/>
                          <a:cs typeface="Tahoma" pitchFamily="34" charset="0"/>
                        </a:rPr>
                        <a:t>Прозрачный механизм на всем периоде реализации проекта: типовая форма утверждена на федеральном уровне и содержит исчерпывающий перечень прав, обязанностей и ответственности сторон.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80471">
                <a:tc>
                  <a:txBody>
                    <a:bodyPr/>
                    <a:lstStyle/>
                    <a:p>
                      <a:pPr algn="l" fontAlgn="ctr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Aft>
                          <a:spcPts val="600"/>
                        </a:spcAft>
                      </a:pPr>
                      <a:r>
                        <a:rPr lang="ru-RU" altLang="ru-RU" sz="1300" b="1" dirty="0" smtClean="0">
                          <a:latin typeface="Arial" pitchFamily="34" charset="0"/>
                          <a:cs typeface="Tahoma" pitchFamily="34" charset="0"/>
                        </a:rPr>
                        <a:t>Фиксация заранее оговоренных условий сотрудничества с органами власти.</a:t>
                      </a:r>
                      <a:endParaRPr lang="ru-RU" altLang="ru-RU" sz="1300" b="1" dirty="0">
                        <a:latin typeface="Arial" pitchFamily="34" charset="0"/>
                        <a:cs typeface="Tahoma" pitchFamily="34" charset="0"/>
                      </a:endParaRP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tx1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68" name="AutoShape 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2603235" y="1879311"/>
            <a:ext cx="313301" cy="3929090"/>
          </a:xfrm>
          <a:prstGeom prst="homePlate">
            <a:avLst>
              <a:gd name="adj" fmla="val 25000"/>
            </a:avLst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altLang="ru-RU" dirty="0">
              <a:cs typeface="+mn-cs"/>
            </a:endParaRPr>
          </a:p>
        </p:txBody>
      </p:sp>
      <p:sp>
        <p:nvSpPr>
          <p:cNvPr id="74" name="AutoShape 1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rot="5400000">
            <a:off x="6727087" y="1880559"/>
            <a:ext cx="314186" cy="3929090"/>
          </a:xfrm>
          <a:prstGeom prst="homePlate">
            <a:avLst>
              <a:gd name="adj" fmla="val 25000"/>
            </a:avLst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altLang="ru-RU" dirty="0">
              <a:cs typeface="+mn-cs"/>
            </a:endParaRPr>
          </a:p>
        </p:txBody>
      </p:sp>
      <p:sp>
        <p:nvSpPr>
          <p:cNvPr id="75" name="Прямоугольник 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795341" y="3357562"/>
            <a:ext cx="3857652" cy="2857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altLang="ru-RU" sz="1200" b="1" i="1" dirty="0" smtClean="0">
                <a:latin typeface="Arial" pitchFamily="34" charset="0"/>
              </a:rPr>
              <a:t>ПЛЮСЫ  КОНЦЕСИИ ДЛЯ  МУНИЦИПАЛИТЕТА</a:t>
            </a:r>
          </a:p>
        </p:txBody>
      </p:sp>
      <p:sp>
        <p:nvSpPr>
          <p:cNvPr id="78" name="Прямоугольник 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965653" y="3357562"/>
            <a:ext cx="3857652" cy="2857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altLang="ru-RU" sz="1200" b="1" i="1" dirty="0" smtClean="0">
                <a:latin typeface="Arial" pitchFamily="34" charset="0"/>
              </a:rPr>
              <a:t>ПЛЮСЫ </a:t>
            </a:r>
            <a:r>
              <a:rPr lang="ru-RU" altLang="ru-RU" sz="1200" b="1" i="1" dirty="0">
                <a:latin typeface="Arial" pitchFamily="34" charset="0"/>
              </a:rPr>
              <a:t>КОНЦЕСИИ </a:t>
            </a:r>
            <a:r>
              <a:rPr lang="ru-RU" altLang="ru-RU" sz="1200" b="1" i="1" dirty="0" smtClean="0">
                <a:latin typeface="Arial" pitchFamily="34" charset="0"/>
              </a:rPr>
              <a:t> ДЛЯ  БИЗНЕСА</a:t>
            </a:r>
          </a:p>
        </p:txBody>
      </p:sp>
      <p:sp>
        <p:nvSpPr>
          <p:cNvPr id="79" name="Rectangle 8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95341" y="3759169"/>
            <a:ext cx="2841432" cy="2460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810" tIns="0" rIns="3810" bIns="0">
            <a:spAutoFit/>
          </a:bodyPr>
          <a:lstStyle>
            <a:lvl1pPr marL="342900" indent="-3429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ru-RU" altLang="ru-RU" sz="1300" b="1" kern="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+mn-cs"/>
            </a:endParaRPr>
          </a:p>
        </p:txBody>
      </p:sp>
      <p:sp>
        <p:nvSpPr>
          <p:cNvPr id="80" name="Oval 76"/>
          <p:cNvSpPr/>
          <p:nvPr>
            <p:custDataLst>
              <p:tags r:id="rId8"/>
            </p:custDataLst>
          </p:nvPr>
        </p:nvSpPr>
        <p:spPr>
          <a:xfrm>
            <a:off x="2581293" y="3833257"/>
            <a:ext cx="285750" cy="282575"/>
          </a:xfrm>
          <a:prstGeom prst="ellipse">
            <a:avLst/>
          </a:prstGeom>
          <a:solidFill>
            <a:srgbClr val="C00000"/>
          </a:solidFill>
          <a:ln w="12700" cap="rnd" cmpd="sng" algn="ctr">
            <a:solidFill>
              <a:schemeClr val="bg1"/>
            </a:solidFill>
            <a:prstDash val="solid"/>
          </a:ln>
          <a:effectLst/>
        </p:spPr>
        <p:txBody>
          <a:bodyPr lIns="0" tIns="0" rIns="0" bIns="0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rgbClr val="0070C0"/>
              </a:buClr>
              <a:defRPr/>
            </a:pPr>
            <a:r>
              <a:rPr lang="ru-RU" sz="1200" b="1" kern="0" dirty="0" smtClean="0">
                <a:solidFill>
                  <a:srgbClr val="FFFFFF"/>
                </a:solidFill>
                <a:latin typeface="Arial"/>
              </a:rPr>
              <a:t>1</a:t>
            </a:r>
            <a:endParaRPr lang="en-US" sz="12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1" name="Oval 76"/>
          <p:cNvSpPr/>
          <p:nvPr>
            <p:custDataLst>
              <p:tags r:id="rId9"/>
            </p:custDataLst>
          </p:nvPr>
        </p:nvSpPr>
        <p:spPr>
          <a:xfrm>
            <a:off x="6823041" y="3786190"/>
            <a:ext cx="285750" cy="282575"/>
          </a:xfrm>
          <a:prstGeom prst="ellipse">
            <a:avLst/>
          </a:prstGeom>
          <a:solidFill>
            <a:srgbClr val="C00000"/>
          </a:solidFill>
          <a:ln w="12700" cap="rnd" cmpd="sng" algn="ctr">
            <a:solidFill>
              <a:schemeClr val="bg1"/>
            </a:solidFill>
            <a:prstDash val="solid"/>
          </a:ln>
          <a:effectLst/>
        </p:spPr>
        <p:txBody>
          <a:bodyPr lIns="0" tIns="0" rIns="0" bIns="0" anchor="ctr"/>
          <a:lstStyle/>
          <a:p>
            <a:pPr algn="ctr">
              <a:lnSpc>
                <a:spcPct val="90000"/>
              </a:lnSpc>
              <a:spcBef>
                <a:spcPts val="900"/>
              </a:spcBef>
              <a:buClr>
                <a:srgbClr val="0070C0"/>
              </a:buClr>
              <a:defRPr/>
            </a:pPr>
            <a:r>
              <a:rPr lang="ru-RU" sz="1200" b="1" kern="0" dirty="0">
                <a:solidFill>
                  <a:srgbClr val="FFFFFF"/>
                </a:solidFill>
                <a:latin typeface="Arial"/>
              </a:rPr>
              <a:t>2</a:t>
            </a:r>
            <a:endParaRPr lang="en-US" sz="12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2" name="Прямоугольник 81"/>
          <p:cNvSpPr/>
          <p:nvPr>
            <p:custDataLst>
              <p:tags r:id="rId10"/>
            </p:custDataLst>
          </p:nvPr>
        </p:nvSpPr>
        <p:spPr>
          <a:xfrm>
            <a:off x="781084" y="2420888"/>
            <a:ext cx="8220072" cy="7200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Прямоугольник 82"/>
          <p:cNvSpPr/>
          <p:nvPr>
            <p:custDataLst>
              <p:tags r:id="rId11"/>
            </p:custDataLst>
          </p:nvPr>
        </p:nvSpPr>
        <p:spPr>
          <a:xfrm>
            <a:off x="781084" y="1546062"/>
            <a:ext cx="8220072" cy="65880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Прямоугольник 117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265270" y="1633359"/>
            <a:ext cx="7708022" cy="4801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altLang="ru-RU" sz="1400" dirty="0" smtClean="0">
                <a:latin typeface="Arial" pitchFamily="34" charset="0"/>
                <a:cs typeface="Tahoma" pitchFamily="34" charset="0"/>
              </a:rPr>
              <a:t>На муниципальном уровне закреплен и  используется институт «инвестиционного соглашения»</a:t>
            </a:r>
            <a:endParaRPr lang="ru-RU" altLang="ru-RU" sz="1400" dirty="0">
              <a:latin typeface="Arial" pitchFamily="34" charset="0"/>
              <a:cs typeface="Tahoma" pitchFamily="34" charset="0"/>
            </a:endParaRPr>
          </a:p>
        </p:txBody>
      </p:sp>
      <p:grpSp>
        <p:nvGrpSpPr>
          <p:cNvPr id="85" name="Группа 85"/>
          <p:cNvGrpSpPr/>
          <p:nvPr>
            <p:custDataLst>
              <p:tags r:id="rId13"/>
            </p:custDataLst>
          </p:nvPr>
        </p:nvGrpSpPr>
        <p:grpSpPr>
          <a:xfrm>
            <a:off x="854101" y="1545391"/>
            <a:ext cx="431751" cy="256087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86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endParaRPr>
            </a:p>
          </p:txBody>
        </p:sp>
        <p:sp>
          <p:nvSpPr>
            <p:cNvPr id="87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88" name="Группа 88"/>
          <p:cNvGrpSpPr/>
          <p:nvPr>
            <p:custDataLst>
              <p:tags r:id="rId14"/>
            </p:custDataLst>
          </p:nvPr>
        </p:nvGrpSpPr>
        <p:grpSpPr>
          <a:xfrm>
            <a:off x="854101" y="2538527"/>
            <a:ext cx="431751" cy="256087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89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endParaRPr>
            </a:p>
          </p:txBody>
        </p:sp>
        <p:sp>
          <p:nvSpPr>
            <p:cNvPr id="90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91" name="Прямоугольник 117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265270" y="2564904"/>
            <a:ext cx="7664117" cy="4801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altLang="ru-RU" sz="1400" dirty="0" smtClean="0">
                <a:latin typeface="Arial" pitchFamily="34" charset="0"/>
                <a:cs typeface="Tahoma" pitchFamily="34" charset="0"/>
              </a:rPr>
              <a:t>Ряд инвестиционных проектов реализуется в формате ГЧП на основе механизма концессии :</a:t>
            </a:r>
            <a:endParaRPr lang="ru-RU" altLang="ru-RU" sz="1400" dirty="0">
              <a:latin typeface="Arial" pitchFamily="34" charset="0"/>
              <a:cs typeface="Tahoma" pitchFamily="34" charset="0"/>
            </a:endParaRPr>
          </a:p>
        </p:txBody>
      </p:sp>
      <p:sp>
        <p:nvSpPr>
          <p:cNvPr id="92" name="Овал 91"/>
          <p:cNvSpPr/>
          <p:nvPr>
            <p:custDataLst>
              <p:tags r:id="rId16"/>
            </p:custDataLst>
          </p:nvPr>
        </p:nvSpPr>
        <p:spPr>
          <a:xfrm>
            <a:off x="866779" y="4248570"/>
            <a:ext cx="252000" cy="2520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2" tIns="45680" rIns="91352" bIns="4568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5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93" name="Овал 92"/>
          <p:cNvSpPr/>
          <p:nvPr>
            <p:custDataLst>
              <p:tags r:id="rId17"/>
            </p:custDataLst>
          </p:nvPr>
        </p:nvSpPr>
        <p:spPr>
          <a:xfrm>
            <a:off x="866779" y="5034388"/>
            <a:ext cx="252000" cy="2520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2" tIns="45680" rIns="91352" bIns="4568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5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94" name="Овал 93"/>
          <p:cNvSpPr/>
          <p:nvPr>
            <p:custDataLst>
              <p:tags r:id="rId18"/>
            </p:custDataLst>
          </p:nvPr>
        </p:nvSpPr>
        <p:spPr>
          <a:xfrm>
            <a:off x="866779" y="6072206"/>
            <a:ext cx="252000" cy="2520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2" tIns="45680" rIns="91352" bIns="4568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5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95" name="Овал 94"/>
          <p:cNvSpPr/>
          <p:nvPr>
            <p:custDataLst>
              <p:tags r:id="rId19"/>
            </p:custDataLst>
          </p:nvPr>
        </p:nvSpPr>
        <p:spPr>
          <a:xfrm>
            <a:off x="5037091" y="4143380"/>
            <a:ext cx="252000" cy="2520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2" tIns="45680" rIns="91352" bIns="4568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5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96" name="Овал 95"/>
          <p:cNvSpPr/>
          <p:nvPr>
            <p:custDataLst>
              <p:tags r:id="rId20"/>
            </p:custDataLst>
          </p:nvPr>
        </p:nvSpPr>
        <p:spPr>
          <a:xfrm>
            <a:off x="5037091" y="4891512"/>
            <a:ext cx="252000" cy="2520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2" tIns="45680" rIns="91352" bIns="4568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5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97" name="Овал 96"/>
          <p:cNvSpPr/>
          <p:nvPr>
            <p:custDataLst>
              <p:tags r:id="rId21"/>
            </p:custDataLst>
          </p:nvPr>
        </p:nvSpPr>
        <p:spPr>
          <a:xfrm>
            <a:off x="5037091" y="6000768"/>
            <a:ext cx="252000" cy="252000"/>
          </a:xfrm>
          <a:prstGeom prst="ellipse">
            <a:avLst/>
          </a:prstGeom>
          <a:solidFill>
            <a:schemeClr val="bg1">
              <a:lumMod val="50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2" tIns="45680" rIns="91352" bIns="4568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5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cxnSp>
        <p:nvCxnSpPr>
          <p:cNvPr id="99" name="Прямая соединительная линия 98"/>
          <p:cNvCxnSpPr/>
          <p:nvPr>
            <p:custDataLst>
              <p:tags r:id="rId22"/>
            </p:custDataLst>
          </p:nvPr>
        </p:nvCxnSpPr>
        <p:spPr>
          <a:xfrm>
            <a:off x="795341" y="3643314"/>
            <a:ext cx="8348659" cy="1588"/>
          </a:xfrm>
          <a:prstGeom prst="line">
            <a:avLst/>
          </a:prstGeom>
          <a:noFill/>
          <a:ln w="28575">
            <a:solidFill>
              <a:srgbClr val="C00000"/>
            </a:solidFill>
            <a:round/>
            <a:headEnd/>
            <a:tailEnd/>
          </a:ln>
          <a:effectLst/>
        </p:spPr>
      </p:cxnSp>
      <p:sp>
        <p:nvSpPr>
          <p:cNvPr id="100" name="Прямоугольник 99"/>
          <p:cNvSpPr/>
          <p:nvPr>
            <p:custDataLst>
              <p:tags r:id="rId23"/>
            </p:custDataLst>
          </p:nvPr>
        </p:nvSpPr>
        <p:spPr>
          <a:xfrm>
            <a:off x="4724431" y="3357562"/>
            <a:ext cx="204759" cy="857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2" name="Прямоугольник 101"/>
          <p:cNvSpPr/>
          <p:nvPr>
            <p:custDataLst>
              <p:tags r:id="rId24"/>
            </p:custDataLst>
          </p:nvPr>
        </p:nvSpPr>
        <p:spPr>
          <a:xfrm>
            <a:off x="8817752" y="3357562"/>
            <a:ext cx="326248" cy="857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19518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"/>
          <p:cNvSpPr>
            <a:spLocks noChangeArrowheads="1"/>
          </p:cNvSpPr>
          <p:nvPr/>
        </p:nvSpPr>
        <p:spPr bwMode="auto">
          <a:xfrm>
            <a:off x="603052" y="455993"/>
            <a:ext cx="8505452" cy="3539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altLang="ru-RU" sz="17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актика применения концессионных соглашений в г. Череповец</a:t>
            </a:r>
          </a:p>
        </p:txBody>
      </p:sp>
      <p:sp>
        <p:nvSpPr>
          <p:cNvPr id="14" name="Title 2"/>
          <p:cNvSpPr txBox="1">
            <a:spLocks/>
          </p:cNvSpPr>
          <p:nvPr/>
        </p:nvSpPr>
        <p:spPr bwMode="auto">
          <a:xfrm>
            <a:off x="631517" y="93961"/>
            <a:ext cx="8512483" cy="1661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ru-RU" altLang="ru-RU" sz="1200" b="1" dirty="0" smtClean="0"/>
              <a:t>ПРОЕКТЫ ПО КОНЦЕССИИ - ВЗАИМОВЫГОДНОЕ СОТРУДНИЧЕСТВО БИЗНЕСА И ВЛАСТИ</a:t>
            </a:r>
          </a:p>
        </p:txBody>
      </p:sp>
      <p:sp>
        <p:nvSpPr>
          <p:cNvPr id="16" name="Номер слайда 2"/>
          <p:cNvSpPr txBox="1">
            <a:spLocks/>
          </p:cNvSpPr>
          <p:nvPr/>
        </p:nvSpPr>
        <p:spPr>
          <a:xfrm>
            <a:off x="53794" y="6446663"/>
            <a:ext cx="487363" cy="366713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>
              <a:defRPr/>
            </a:pPr>
            <a:fld id="{C45D8568-3546-4613-9456-5AC0D6096D5C}" type="slidenum">
              <a:rPr lang="ru-RU" sz="2000" b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/>
              </a:pPr>
              <a:t>8</a:t>
            </a:fld>
            <a:endParaRPr 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TextBox 2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04884" y="2201863"/>
            <a:ext cx="3605212" cy="733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80000"/>
              </a:lnSpc>
              <a:spcAft>
                <a:spcPts val="600"/>
              </a:spcAft>
            </a:pPr>
            <a:r>
              <a:rPr lang="ru-RU" altLang="ru-RU" sz="1300">
                <a:latin typeface="Arial" pitchFamily="34" charset="0"/>
              </a:rPr>
              <a:t>Суть: Организация современного банно-прачечного комплекса путем реконструкции и модернизации муниципального комплекса по адресу ул. Краснодонцев 53</a:t>
            </a:r>
          </a:p>
        </p:txBody>
      </p:sp>
      <p:sp>
        <p:nvSpPr>
          <p:cNvPr id="34" name="TextBox 47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929190" y="2187575"/>
            <a:ext cx="4032250" cy="954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80000"/>
              </a:lnSpc>
              <a:spcAft>
                <a:spcPts val="600"/>
              </a:spcAft>
            </a:pPr>
            <a:r>
              <a:rPr lang="ru-RU" altLang="ru-RU" sz="1300">
                <a:latin typeface="Arial" pitchFamily="34" charset="0"/>
              </a:rPr>
              <a:t>Суть: Организация современного частного медицинского  комплекса в центральном районе города  путем реконструкции  (ремонта и реставрации) муниципального объекта по адресу:  ул. Коммунистов 40</a:t>
            </a:r>
          </a:p>
        </p:txBody>
      </p:sp>
      <p:grpSp>
        <p:nvGrpSpPr>
          <p:cNvPr id="2" name="Группа 3"/>
          <p:cNvGrpSpPr>
            <a:grpSpLocks/>
          </p:cNvGrpSpPr>
          <p:nvPr/>
        </p:nvGrpSpPr>
        <p:grpSpPr bwMode="auto">
          <a:xfrm>
            <a:off x="4929190" y="1196975"/>
            <a:ext cx="4032250" cy="939800"/>
            <a:chOff x="4716016" y="762472"/>
            <a:chExt cx="3556000" cy="939328"/>
          </a:xfrm>
        </p:grpSpPr>
        <p:sp>
          <p:nvSpPr>
            <p:cNvPr id="36" name="AutoShape 11"/>
            <p:cNvSpPr>
              <a:spLocks noChangeArrowheads="1"/>
            </p:cNvSpPr>
            <p:nvPr/>
          </p:nvSpPr>
          <p:spPr bwMode="auto">
            <a:xfrm rot="5400000">
              <a:off x="6376600" y="-193616"/>
              <a:ext cx="234832" cy="3556000"/>
            </a:xfrm>
            <a:prstGeom prst="homePlate">
              <a:avLst>
                <a:gd name="adj" fmla="val 25000"/>
              </a:avLst>
            </a:prstGeom>
            <a:solidFill>
              <a:schemeClr val="bg1">
                <a:lumMod val="85000"/>
              </a:schemeClr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altLang="ru-RU" dirty="0">
                <a:cs typeface="+mn-cs"/>
              </a:endParaRPr>
            </a:p>
          </p:txBody>
        </p:sp>
        <p:sp>
          <p:nvSpPr>
            <p:cNvPr id="37" name="Line 7"/>
            <p:cNvSpPr>
              <a:spLocks noChangeShapeType="1"/>
            </p:cNvSpPr>
            <p:nvPr/>
          </p:nvSpPr>
          <p:spPr bwMode="auto">
            <a:xfrm flipV="1">
              <a:off x="4716016" y="1463675"/>
              <a:ext cx="3556000" cy="3175"/>
            </a:xfrm>
            <a:prstGeom prst="line">
              <a:avLst/>
            </a:prstGeom>
            <a:noFill/>
            <a:ln w="28575">
              <a:solidFill>
                <a:srgbClr val="C0000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38" name="Rectangle 12"/>
            <p:cNvSpPr>
              <a:spLocks noChangeArrowheads="1"/>
            </p:cNvSpPr>
            <p:nvPr/>
          </p:nvSpPr>
          <p:spPr bwMode="auto">
            <a:xfrm>
              <a:off x="4876353" y="762472"/>
              <a:ext cx="3235325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defTabSz="895350">
                <a:buClr>
                  <a:schemeClr val="tx2"/>
                </a:buClr>
              </a:pPr>
              <a:r>
                <a:rPr lang="ru-RU" altLang="ru-RU" sz="1400" b="1" i="1">
                  <a:latin typeface="Arial" pitchFamily="34" charset="0"/>
                </a:rPr>
                <a:t>СОЗДАНИЕ МЕДИЦИНСКОГО ЦЕНТРА НА УСЛОВИЯХ КОНЦЕССИИ В ЦЕНТРАЛЬНОМ РАЙОНЕ</a:t>
              </a:r>
            </a:p>
          </p:txBody>
        </p:sp>
      </p:grpSp>
      <p:grpSp>
        <p:nvGrpSpPr>
          <p:cNvPr id="3" name="Группа 2"/>
          <p:cNvGrpSpPr>
            <a:grpSpLocks/>
          </p:cNvGrpSpPr>
          <p:nvPr/>
        </p:nvGrpSpPr>
        <p:grpSpPr bwMode="auto">
          <a:xfrm>
            <a:off x="711234" y="1198563"/>
            <a:ext cx="4014787" cy="925512"/>
            <a:chOff x="545901" y="774432"/>
            <a:chExt cx="3540127" cy="925781"/>
          </a:xfrm>
        </p:grpSpPr>
        <p:sp>
          <p:nvSpPr>
            <p:cNvPr id="40" name="AutoShape 8"/>
            <p:cNvSpPr>
              <a:spLocks noChangeArrowheads="1"/>
            </p:cNvSpPr>
            <p:nvPr/>
          </p:nvSpPr>
          <p:spPr bwMode="auto">
            <a:xfrm rot="5400000">
              <a:off x="2199250" y="-186566"/>
              <a:ext cx="233430" cy="3540127"/>
            </a:xfrm>
            <a:prstGeom prst="homePlate">
              <a:avLst>
                <a:gd name="adj" fmla="val 25000"/>
              </a:avLst>
            </a:prstGeom>
            <a:solidFill>
              <a:schemeClr val="bg1">
                <a:lumMod val="85000"/>
              </a:schemeClr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altLang="ru-RU" dirty="0">
                <a:cs typeface="+mn-cs"/>
              </a:endParaRPr>
            </a:p>
          </p:txBody>
        </p:sp>
        <p:sp>
          <p:nvSpPr>
            <p:cNvPr id="41" name="Line 7"/>
            <p:cNvSpPr>
              <a:spLocks noChangeShapeType="1"/>
            </p:cNvSpPr>
            <p:nvPr/>
          </p:nvSpPr>
          <p:spPr bwMode="auto">
            <a:xfrm flipV="1">
              <a:off x="545901" y="1463673"/>
              <a:ext cx="3540127" cy="0"/>
            </a:xfrm>
            <a:prstGeom prst="line">
              <a:avLst/>
            </a:prstGeom>
            <a:noFill/>
            <a:ln w="28575">
              <a:solidFill>
                <a:srgbClr val="C0000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42" name="Rectangle 9"/>
            <p:cNvSpPr>
              <a:spLocks noChangeArrowheads="1"/>
            </p:cNvSpPr>
            <p:nvPr/>
          </p:nvSpPr>
          <p:spPr bwMode="auto">
            <a:xfrm>
              <a:off x="687190" y="774432"/>
              <a:ext cx="3221037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85725" algn="ctr" defTabSz="895350" eaLnBrk="0" hangingPunct="0">
                <a:spcAft>
                  <a:spcPts val="600"/>
                </a:spcAft>
              </a:pPr>
              <a:r>
                <a:rPr lang="ru-RU" altLang="ru-RU" sz="1400" b="1" i="1" dirty="0">
                  <a:latin typeface="Arial" pitchFamily="34" charset="0"/>
                </a:rPr>
                <a:t>РЕКОНСТРУКЦИЯ БАННО-ПРАЧЕЧНОГО КОМПЛЕКСА НА УСЛОВИЯХ КОНЦЕССИИ </a:t>
              </a:r>
            </a:p>
          </p:txBody>
        </p:sp>
      </p:grpSp>
      <p:pic>
        <p:nvPicPr>
          <p:cNvPr id="43" name="Picture 6" descr="http://ia-cher.ru/img/img/big/bpk-2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11234" y="4646613"/>
            <a:ext cx="4014787" cy="2024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4" name="Picture 2" descr="C:\Users\1\Documents\Светлана\Административно-деловой центр\c2RlbGFub3VuYXMucnUvdXBsb2Fkcy8xLzgvMTg5MTM2ODQ1Njk0My5qcGVn2.jpg"/>
          <p:cNvPicPr>
            <a:picLocks noChangeAspect="1" noChangeArrowheads="1"/>
          </p:cNvPicPr>
          <p:nvPr/>
        </p:nvPicPr>
        <p:blipFill>
          <a:blip r:embed="rId5"/>
          <a:srcRect b="14737"/>
          <a:stretch>
            <a:fillRect/>
          </a:stretch>
        </p:blipFill>
        <p:spPr bwMode="auto">
          <a:xfrm>
            <a:off x="5032377" y="4630738"/>
            <a:ext cx="3930650" cy="2039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5" name="Скругленный прямоугольник 21"/>
          <p:cNvSpPr>
            <a:spLocks noChangeArrowheads="1"/>
          </p:cNvSpPr>
          <p:nvPr/>
        </p:nvSpPr>
        <p:spPr bwMode="auto">
          <a:xfrm>
            <a:off x="1474821" y="3689350"/>
            <a:ext cx="1582738" cy="434975"/>
          </a:xfrm>
          <a:prstGeom prst="roundRect">
            <a:avLst>
              <a:gd name="adj" fmla="val 0"/>
            </a:avLst>
          </a:prstGeom>
          <a:noFill/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>
              <a:lnSpc>
                <a:spcPct val="80000"/>
              </a:lnSpc>
            </a:pPr>
            <a:r>
              <a:rPr lang="ru-RU" sz="1400">
                <a:latin typeface="Arial" pitchFamily="34" charset="0"/>
              </a:rPr>
              <a:t>Срок соглашения</a:t>
            </a:r>
          </a:p>
        </p:txBody>
      </p:sp>
      <p:grpSp>
        <p:nvGrpSpPr>
          <p:cNvPr id="4" name="Группа 40"/>
          <p:cNvGrpSpPr>
            <a:grpSpLocks/>
          </p:cNvGrpSpPr>
          <p:nvPr/>
        </p:nvGrpSpPr>
        <p:grpSpPr bwMode="auto">
          <a:xfrm>
            <a:off x="690596" y="3429000"/>
            <a:ext cx="889000" cy="828675"/>
            <a:chOff x="2861550" y="5054575"/>
            <a:chExt cx="889386" cy="828000"/>
          </a:xfrm>
        </p:grpSpPr>
        <p:sp>
          <p:nvSpPr>
            <p:cNvPr id="47" name="Oval 130"/>
            <p:cNvSpPr>
              <a:spLocks noChangeArrowheads="1"/>
            </p:cNvSpPr>
            <p:nvPr/>
          </p:nvSpPr>
          <p:spPr bwMode="auto">
            <a:xfrm>
              <a:off x="2909196" y="5054575"/>
              <a:ext cx="829035" cy="828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latin typeface="+mn-lt"/>
                <a:cs typeface="Arial" charset="0"/>
              </a:endParaRPr>
            </a:p>
          </p:txBody>
        </p:sp>
        <p:sp>
          <p:nvSpPr>
            <p:cNvPr id="48" name="Rectangle 131"/>
            <p:cNvSpPr>
              <a:spLocks noChangeArrowheads="1"/>
            </p:cNvSpPr>
            <p:nvPr/>
          </p:nvSpPr>
          <p:spPr bwMode="auto">
            <a:xfrm>
              <a:off x="2861550" y="5170369"/>
              <a:ext cx="889386" cy="5853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>
              <a:spAutoFit/>
            </a:bodyPr>
            <a:lstStyle/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800" dirty="0">
                  <a:solidFill>
                    <a:schemeClr val="bg1"/>
                  </a:solidFill>
                  <a:latin typeface="+mn-lt"/>
                  <a:cs typeface="+mn-cs"/>
                </a:rPr>
                <a:t>30</a:t>
              </a:r>
            </a:p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dirty="0">
                  <a:solidFill>
                    <a:schemeClr val="bg1"/>
                  </a:solidFill>
                  <a:latin typeface="+mn-lt"/>
                  <a:cs typeface="+mn-cs"/>
                </a:rPr>
                <a:t>лет</a:t>
              </a:r>
            </a:p>
          </p:txBody>
        </p:sp>
      </p:grpSp>
      <p:sp>
        <p:nvSpPr>
          <p:cNvPr id="49" name="Скругленный прямоугольник 21"/>
          <p:cNvSpPr>
            <a:spLocks noChangeArrowheads="1"/>
          </p:cNvSpPr>
          <p:nvPr/>
        </p:nvSpPr>
        <p:spPr bwMode="auto">
          <a:xfrm>
            <a:off x="3203609" y="4256088"/>
            <a:ext cx="1582737" cy="434975"/>
          </a:xfrm>
          <a:prstGeom prst="roundRect">
            <a:avLst>
              <a:gd name="adj" fmla="val 0"/>
            </a:avLst>
          </a:prstGeom>
          <a:noFill/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>
              <a:lnSpc>
                <a:spcPct val="80000"/>
              </a:lnSpc>
            </a:pPr>
            <a:r>
              <a:rPr lang="ru-RU" sz="1400">
                <a:latin typeface="Arial" pitchFamily="34" charset="0"/>
              </a:rPr>
              <a:t>Концессионная плата </a:t>
            </a:r>
          </a:p>
        </p:txBody>
      </p:sp>
      <p:grpSp>
        <p:nvGrpSpPr>
          <p:cNvPr id="5" name="Группа 40"/>
          <p:cNvGrpSpPr>
            <a:grpSpLocks/>
          </p:cNvGrpSpPr>
          <p:nvPr/>
        </p:nvGrpSpPr>
        <p:grpSpPr bwMode="auto">
          <a:xfrm>
            <a:off x="2360646" y="3970338"/>
            <a:ext cx="889000" cy="828675"/>
            <a:chOff x="2861550" y="5054575"/>
            <a:chExt cx="889386" cy="828000"/>
          </a:xfrm>
        </p:grpSpPr>
        <p:sp>
          <p:nvSpPr>
            <p:cNvPr id="51" name="Oval 130"/>
            <p:cNvSpPr>
              <a:spLocks noChangeArrowheads="1"/>
            </p:cNvSpPr>
            <p:nvPr/>
          </p:nvSpPr>
          <p:spPr bwMode="auto">
            <a:xfrm>
              <a:off x="2909196" y="5054575"/>
              <a:ext cx="829035" cy="828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latin typeface="+mn-lt"/>
                <a:cs typeface="Arial" charset="0"/>
              </a:endParaRPr>
            </a:p>
          </p:txBody>
        </p:sp>
        <p:sp>
          <p:nvSpPr>
            <p:cNvPr id="52" name="Rectangle 131"/>
            <p:cNvSpPr>
              <a:spLocks noChangeArrowheads="1"/>
            </p:cNvSpPr>
            <p:nvPr/>
          </p:nvSpPr>
          <p:spPr bwMode="auto">
            <a:xfrm>
              <a:off x="2861550" y="5125954"/>
              <a:ext cx="889386" cy="7312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>
              <a:spAutoFit/>
            </a:bodyPr>
            <a:lstStyle/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800" dirty="0">
                  <a:solidFill>
                    <a:schemeClr val="bg1"/>
                  </a:solidFill>
                  <a:latin typeface="+mn-lt"/>
                  <a:cs typeface="+mn-cs"/>
                </a:rPr>
                <a:t>760</a:t>
              </a:r>
            </a:p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dirty="0">
                  <a:solidFill>
                    <a:schemeClr val="bg1"/>
                  </a:solidFill>
                  <a:latin typeface="+mn-lt"/>
                  <a:cs typeface="+mn-cs"/>
                </a:rPr>
                <a:t>тыс. руб. в год</a:t>
              </a:r>
            </a:p>
          </p:txBody>
        </p:sp>
      </p:grpSp>
      <p:sp>
        <p:nvSpPr>
          <p:cNvPr id="53" name="Пятиугольник 4"/>
          <p:cNvSpPr/>
          <p:nvPr/>
        </p:nvSpPr>
        <p:spPr>
          <a:xfrm>
            <a:off x="2246346" y="2935288"/>
            <a:ext cx="1487488" cy="31908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45208" tIns="53340" rIns="99568" bIns="53340" spcCol="1270" anchor="ctr"/>
          <a:lstStyle/>
          <a:p>
            <a:pPr algn="ctr" defTabSz="62230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50</a:t>
            </a:r>
            <a:r>
              <a:rPr lang="ru-RU" sz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млн. руб.</a:t>
            </a:r>
          </a:p>
        </p:txBody>
      </p:sp>
      <p:pic>
        <p:nvPicPr>
          <p:cNvPr id="54" name="Picture 78" descr="C:\Users\Светлана\Documents\Светлана\Оформление презентаций\Icons\money_bag-512.pn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8157" y="2964627"/>
            <a:ext cx="220944" cy="215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101" descr="C:\Users\Светлана\Documents\Светлана\Оформление презентаций\Icons\workers-512.png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6309" y="2964627"/>
            <a:ext cx="215733" cy="215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" name="Пятиугольник 4"/>
          <p:cNvSpPr/>
          <p:nvPr/>
        </p:nvSpPr>
        <p:spPr>
          <a:xfrm>
            <a:off x="3562384" y="2921000"/>
            <a:ext cx="1131887" cy="33337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45208" tIns="53340" rIns="99568" bIns="53340" spcCol="1270" anchor="ctr"/>
          <a:lstStyle/>
          <a:p>
            <a:pPr algn="ctr" defTabSz="62230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50 </a:t>
            </a:r>
            <a:r>
              <a:rPr lang="ru-RU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чел.</a:t>
            </a:r>
          </a:p>
        </p:txBody>
      </p:sp>
      <p:sp>
        <p:nvSpPr>
          <p:cNvPr id="57" name="Скругленный прямоугольник 21"/>
          <p:cNvSpPr>
            <a:spLocks noChangeArrowheads="1"/>
          </p:cNvSpPr>
          <p:nvPr/>
        </p:nvSpPr>
        <p:spPr bwMode="auto">
          <a:xfrm>
            <a:off x="5762627" y="3689350"/>
            <a:ext cx="1582738" cy="434975"/>
          </a:xfrm>
          <a:prstGeom prst="roundRect">
            <a:avLst>
              <a:gd name="adj" fmla="val 0"/>
            </a:avLst>
          </a:prstGeom>
          <a:noFill/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>
              <a:lnSpc>
                <a:spcPct val="80000"/>
              </a:lnSpc>
            </a:pPr>
            <a:r>
              <a:rPr lang="ru-RU" sz="1400">
                <a:latin typeface="Arial" pitchFamily="34" charset="0"/>
              </a:rPr>
              <a:t>Срок соглашения</a:t>
            </a:r>
          </a:p>
        </p:txBody>
      </p:sp>
      <p:grpSp>
        <p:nvGrpSpPr>
          <p:cNvPr id="6" name="Группа 40"/>
          <p:cNvGrpSpPr>
            <a:grpSpLocks/>
          </p:cNvGrpSpPr>
          <p:nvPr/>
        </p:nvGrpSpPr>
        <p:grpSpPr bwMode="auto">
          <a:xfrm>
            <a:off x="4976815" y="3429000"/>
            <a:ext cx="889000" cy="828675"/>
            <a:chOff x="2861550" y="5054575"/>
            <a:chExt cx="889386" cy="828000"/>
          </a:xfrm>
        </p:grpSpPr>
        <p:sp>
          <p:nvSpPr>
            <p:cNvPr id="59" name="Oval 130"/>
            <p:cNvSpPr>
              <a:spLocks noChangeArrowheads="1"/>
            </p:cNvSpPr>
            <p:nvPr/>
          </p:nvSpPr>
          <p:spPr bwMode="auto">
            <a:xfrm>
              <a:off x="2909196" y="5054575"/>
              <a:ext cx="829035" cy="828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latin typeface="+mn-lt"/>
                <a:cs typeface="Arial" charset="0"/>
              </a:endParaRPr>
            </a:p>
          </p:txBody>
        </p:sp>
        <p:sp>
          <p:nvSpPr>
            <p:cNvPr id="60" name="Rectangle 131"/>
            <p:cNvSpPr>
              <a:spLocks noChangeArrowheads="1"/>
            </p:cNvSpPr>
            <p:nvPr/>
          </p:nvSpPr>
          <p:spPr bwMode="auto">
            <a:xfrm>
              <a:off x="2861550" y="5170369"/>
              <a:ext cx="889386" cy="5853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>
              <a:spAutoFit/>
            </a:bodyPr>
            <a:lstStyle/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800" dirty="0">
                  <a:solidFill>
                    <a:schemeClr val="bg1"/>
                  </a:solidFill>
                  <a:latin typeface="+mn-lt"/>
                  <a:cs typeface="+mn-cs"/>
                </a:rPr>
                <a:t>49</a:t>
              </a:r>
            </a:p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dirty="0">
                  <a:solidFill>
                    <a:schemeClr val="bg1"/>
                  </a:solidFill>
                  <a:latin typeface="+mn-lt"/>
                  <a:cs typeface="+mn-cs"/>
                </a:rPr>
                <a:t>лет</a:t>
              </a:r>
            </a:p>
          </p:txBody>
        </p:sp>
      </p:grpSp>
      <p:sp>
        <p:nvSpPr>
          <p:cNvPr id="61" name="Скругленный прямоугольник 21"/>
          <p:cNvSpPr>
            <a:spLocks noChangeArrowheads="1"/>
          </p:cNvSpPr>
          <p:nvPr/>
        </p:nvSpPr>
        <p:spPr bwMode="auto">
          <a:xfrm>
            <a:off x="7491415" y="4256088"/>
            <a:ext cx="1582737" cy="434975"/>
          </a:xfrm>
          <a:prstGeom prst="roundRect">
            <a:avLst>
              <a:gd name="adj" fmla="val 0"/>
            </a:avLst>
          </a:prstGeom>
          <a:noFill/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>
              <a:lnSpc>
                <a:spcPct val="80000"/>
              </a:lnSpc>
            </a:pPr>
            <a:r>
              <a:rPr lang="ru-RU" sz="1400">
                <a:latin typeface="Arial" pitchFamily="34" charset="0"/>
              </a:rPr>
              <a:t>Концессионная плата </a:t>
            </a:r>
          </a:p>
        </p:txBody>
      </p:sp>
      <p:grpSp>
        <p:nvGrpSpPr>
          <p:cNvPr id="7" name="Группа 40"/>
          <p:cNvGrpSpPr>
            <a:grpSpLocks/>
          </p:cNvGrpSpPr>
          <p:nvPr/>
        </p:nvGrpSpPr>
        <p:grpSpPr bwMode="auto">
          <a:xfrm>
            <a:off x="6648452" y="3970338"/>
            <a:ext cx="889000" cy="828675"/>
            <a:chOff x="2861550" y="5054575"/>
            <a:chExt cx="889386" cy="828000"/>
          </a:xfrm>
        </p:grpSpPr>
        <p:sp>
          <p:nvSpPr>
            <p:cNvPr id="63" name="Oval 130"/>
            <p:cNvSpPr>
              <a:spLocks noChangeArrowheads="1"/>
            </p:cNvSpPr>
            <p:nvPr/>
          </p:nvSpPr>
          <p:spPr bwMode="auto">
            <a:xfrm>
              <a:off x="2909196" y="5054575"/>
              <a:ext cx="829035" cy="828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latin typeface="+mn-lt"/>
                <a:cs typeface="Arial" charset="0"/>
              </a:endParaRPr>
            </a:p>
          </p:txBody>
        </p:sp>
        <p:sp>
          <p:nvSpPr>
            <p:cNvPr id="64" name="Rectangle 131"/>
            <p:cNvSpPr>
              <a:spLocks noChangeArrowheads="1"/>
            </p:cNvSpPr>
            <p:nvPr/>
          </p:nvSpPr>
          <p:spPr bwMode="auto">
            <a:xfrm>
              <a:off x="2861550" y="5125954"/>
              <a:ext cx="889386" cy="7312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>
              <a:spAutoFit/>
            </a:bodyPr>
            <a:lstStyle/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800" dirty="0">
                  <a:solidFill>
                    <a:schemeClr val="bg1"/>
                  </a:solidFill>
                  <a:latin typeface="+mn-lt"/>
                  <a:cs typeface="+mn-cs"/>
                </a:rPr>
                <a:t>290</a:t>
              </a:r>
            </a:p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dirty="0">
                  <a:solidFill>
                    <a:schemeClr val="bg1"/>
                  </a:solidFill>
                  <a:latin typeface="+mn-lt"/>
                  <a:cs typeface="+mn-cs"/>
                </a:rPr>
                <a:t>тыс. руб. в год</a:t>
              </a:r>
            </a:p>
          </p:txBody>
        </p:sp>
      </p:grpSp>
      <p:sp>
        <p:nvSpPr>
          <p:cNvPr id="65" name="Пятиугольник 4"/>
          <p:cNvSpPr/>
          <p:nvPr/>
        </p:nvSpPr>
        <p:spPr>
          <a:xfrm>
            <a:off x="6534152" y="3038475"/>
            <a:ext cx="1487488" cy="319088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45208" tIns="53340" rIns="99568" bIns="53340" spcCol="1270" anchor="ctr"/>
          <a:lstStyle/>
          <a:p>
            <a:pPr algn="ctr" defTabSz="62230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20</a:t>
            </a:r>
            <a:r>
              <a:rPr lang="ru-RU" sz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1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млн. руб.</a:t>
            </a:r>
          </a:p>
        </p:txBody>
      </p:sp>
      <p:pic>
        <p:nvPicPr>
          <p:cNvPr id="69" name="Picture 78" descr="C:\Users\Светлана\Documents\Светлана\Оформление презентаций\Icons\money_bag-512.pn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5140" y="3067962"/>
            <a:ext cx="220944" cy="215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101" descr="C:\Users\Светлана\Documents\Светлана\Оформление презентаций\Icons\workers-512.png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3292" y="3067962"/>
            <a:ext cx="215733" cy="215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1" name="Пятиугольник 4"/>
          <p:cNvSpPr/>
          <p:nvPr/>
        </p:nvSpPr>
        <p:spPr>
          <a:xfrm>
            <a:off x="7850190" y="3024188"/>
            <a:ext cx="1131887" cy="33337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45208" tIns="53340" rIns="99568" bIns="53340" spcCol="1270" anchor="ctr"/>
          <a:lstStyle/>
          <a:p>
            <a:pPr algn="ctr" defTabSz="62230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30 </a:t>
            </a:r>
            <a:r>
              <a:rPr lang="ru-RU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чел.</a:t>
            </a:r>
          </a:p>
        </p:txBody>
      </p:sp>
    </p:spTree>
    <p:extLst>
      <p:ext uri="{BB962C8B-B14F-4D97-AF65-F5344CB8AC3E}">
        <p14:creationId xmlns:p14="http://schemas.microsoft.com/office/powerpoint/2010/main" val="2019518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"/>
          <p:cNvSpPr>
            <a:spLocks noChangeArrowheads="1"/>
          </p:cNvSpPr>
          <p:nvPr/>
        </p:nvSpPr>
        <p:spPr bwMode="auto">
          <a:xfrm>
            <a:off x="603052" y="455993"/>
            <a:ext cx="8505452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altLang="ru-RU" sz="17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К настоящему моменту город предлагает 8 объектов для использования на условиях концессии</a:t>
            </a:r>
          </a:p>
        </p:txBody>
      </p:sp>
      <p:sp>
        <p:nvSpPr>
          <p:cNvPr id="14" name="Title 2"/>
          <p:cNvSpPr txBox="1">
            <a:spLocks/>
          </p:cNvSpPr>
          <p:nvPr/>
        </p:nvSpPr>
        <p:spPr bwMode="auto">
          <a:xfrm>
            <a:off x="631517" y="93961"/>
            <a:ext cx="8512483" cy="1661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ru-RU" altLang="ru-RU" sz="1200" b="1" dirty="0" smtClean="0"/>
              <a:t>ПРОЕКТЫ ПО КОНЦЕССИИ - ВЗАИМОВЫГОДНОЕ СОТРУДНИЧЕСТВО БИЗНЕСА И ВЛАСТИ</a:t>
            </a:r>
          </a:p>
        </p:txBody>
      </p:sp>
      <p:sp>
        <p:nvSpPr>
          <p:cNvPr id="16" name="Номер слайда 2"/>
          <p:cNvSpPr txBox="1">
            <a:spLocks/>
          </p:cNvSpPr>
          <p:nvPr/>
        </p:nvSpPr>
        <p:spPr>
          <a:xfrm>
            <a:off x="53794" y="6446663"/>
            <a:ext cx="487363" cy="366713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>
              <a:defRPr/>
            </a:pPr>
            <a:fld id="{C45D8568-3546-4613-9456-5AC0D6096D5C}" type="slidenum">
              <a:rPr lang="ru-RU" sz="2000" b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/>
              </a:pPr>
              <a:t>9</a:t>
            </a:fld>
            <a:endParaRPr 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3" name="Picture 2"/>
          <p:cNvPicPr>
            <a:picLocks noChangeAspect="1" noChangeArrowheads="1"/>
          </p:cNvPicPr>
          <p:nvPr/>
        </p:nvPicPr>
        <p:blipFill>
          <a:blip r:embed="rId2"/>
          <a:srcRect r="5902"/>
          <a:stretch>
            <a:fillRect/>
          </a:stretch>
        </p:blipFill>
        <p:spPr bwMode="auto">
          <a:xfrm>
            <a:off x="642973" y="1265238"/>
            <a:ext cx="8501027" cy="535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76" name="Группа 75"/>
          <p:cNvGrpSpPr>
            <a:grpSpLocks/>
          </p:cNvGrpSpPr>
          <p:nvPr/>
        </p:nvGrpSpPr>
        <p:grpSpPr bwMode="auto">
          <a:xfrm>
            <a:off x="642973" y="3954463"/>
            <a:ext cx="8501027" cy="2903537"/>
            <a:chOff x="-80544" y="3429000"/>
            <a:chExt cx="9246295" cy="3129668"/>
          </a:xfrm>
        </p:grpSpPr>
        <p:pic>
          <p:nvPicPr>
            <p:cNvPr id="77" name="Picture 3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-80543" y="5079983"/>
              <a:ext cx="9224542" cy="14786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85" name="Picture 4"/>
            <p:cNvPicPr>
              <a:picLocks noChangeAspect="1" noChangeArrowheads="1"/>
            </p:cNvPicPr>
            <p:nvPr/>
          </p:nvPicPr>
          <p:blipFill>
            <a:blip r:embed="rId4"/>
            <a:srcRect l="1437" r="2795"/>
            <a:stretch>
              <a:fillRect/>
            </a:stretch>
          </p:blipFill>
          <p:spPr bwMode="auto">
            <a:xfrm>
              <a:off x="-80544" y="3429000"/>
              <a:ext cx="9246295" cy="17281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grpSp>
        <p:nvGrpSpPr>
          <p:cNvPr id="88" name="Группа 11"/>
          <p:cNvGrpSpPr>
            <a:grpSpLocks/>
          </p:cNvGrpSpPr>
          <p:nvPr/>
        </p:nvGrpSpPr>
        <p:grpSpPr bwMode="auto">
          <a:xfrm>
            <a:off x="6745320" y="1268413"/>
            <a:ext cx="2398712" cy="650875"/>
            <a:chOff x="-1177429" y="4931838"/>
            <a:chExt cx="2679520" cy="558520"/>
          </a:xfrm>
        </p:grpSpPr>
        <p:sp>
          <p:nvSpPr>
            <p:cNvPr id="98" name="Chevron 75"/>
            <p:cNvSpPr/>
            <p:nvPr/>
          </p:nvSpPr>
          <p:spPr>
            <a:xfrm>
              <a:off x="-200318" y="4931838"/>
              <a:ext cx="1702409" cy="558520"/>
            </a:xfrm>
            <a:prstGeom prst="chevron">
              <a:avLst>
                <a:gd name="adj" fmla="val 60714"/>
              </a:avLst>
            </a:prstGeom>
            <a:pattFill prst="ltHorz">
              <a:fgClr>
                <a:srgbClr val="0070C0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1" name="Chevron 76"/>
            <p:cNvSpPr/>
            <p:nvPr/>
          </p:nvSpPr>
          <p:spPr>
            <a:xfrm>
              <a:off x="-1177429" y="4931838"/>
              <a:ext cx="2418839" cy="558520"/>
            </a:xfrm>
            <a:prstGeom prst="chevron">
              <a:avLst>
                <a:gd name="adj" fmla="val 50641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103" name="TextBox 70"/>
          <p:cNvSpPr txBox="1">
            <a:spLocks noChangeArrowheads="1"/>
          </p:cNvSpPr>
          <p:nvPr/>
        </p:nvSpPr>
        <p:spPr bwMode="auto">
          <a:xfrm>
            <a:off x="6804057" y="1250950"/>
            <a:ext cx="2073275" cy="738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400" b="1">
                <a:latin typeface="Arial" pitchFamily="34" charset="0"/>
              </a:rPr>
              <a:t>Полный перечень площадок: </a:t>
            </a:r>
          </a:p>
          <a:p>
            <a:pPr algn="ctr"/>
            <a:r>
              <a:rPr lang="en-US" sz="1400" b="1">
                <a:solidFill>
                  <a:srgbClr val="0070C0"/>
                </a:solidFill>
                <a:latin typeface="Arial" pitchFamily="34" charset="0"/>
              </a:rPr>
              <a:t>www.ia</a:t>
            </a:r>
            <a:r>
              <a:rPr lang="ru-RU" sz="1400" b="1">
                <a:solidFill>
                  <a:srgbClr val="0070C0"/>
                </a:solidFill>
                <a:latin typeface="Arial" pitchFamily="34" charset="0"/>
              </a:rPr>
              <a:t>-</a:t>
            </a:r>
            <a:r>
              <a:rPr lang="en-US" sz="1400" b="1">
                <a:solidFill>
                  <a:srgbClr val="0070C0"/>
                </a:solidFill>
                <a:latin typeface="Arial" pitchFamily="34" charset="0"/>
              </a:rPr>
              <a:t>cher.ru</a:t>
            </a:r>
            <a:r>
              <a:rPr lang="ru-RU" sz="1400">
                <a:solidFill>
                  <a:srgbClr val="0070C0"/>
                </a:solidFill>
                <a:latin typeface="Arial" pitchFamily="34" charset="0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2019518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9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/m_precDefaultNumber&gt;&lt;m_precDefaultPercent&gt;&lt;m_bNumberIsYear val=&quot;1&quot;/&gt;&lt;m_chMinusSymbol&gt;-&lt;/m_chMinusSymbol&gt;&lt;m_chDecimalSymbol17909&gt;,&lt;/m_chDecimalSymbol17909&gt;&lt;m_nGroupingDigits17909 val=&quot;3&quot;/&gt;&lt;m_chGroupingSymbol17909&gt; &lt;/m_chGroupingSymbol17909&gt;&lt;m_strSuffix17909&gt;%&lt;/m_strSuffix17909&gt;&lt;/m_precDefaultPercent&gt;&lt;m_precDefaultDate/&gt;&lt;m_precDefaultYear/&gt;&lt;m_precDefaultQuarter/&gt;&lt;m_precDefaultMonth/&gt;&lt;m_precDefaultWeek/&gt;&lt;m_precDefaultDay/&gt;&lt;m_mruColor&gt;&lt;m_vecMRU length=&quot;1&quot;&gt;&lt;elem m_fUsage=&quot;3.43900000000000010000E+000&quot;&gt;&lt;m_msothmcolidx val=&quot;0&quot;/&gt;&lt;m_rgb r=&quot;a4&quot; g=&quot;0&quot; b=&quot;4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8ANaa9C0aMtPku5stVk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Xax4wm1Uu2_PKMCy3Gj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yjX5oKnESuJsLt1u9I1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O8e5O7D0ueLolaSefGr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RoCARKAEGuhz51Z0xT7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RoCARKAEGuhz51Z0xT7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nwjEFCSkGunXL244CEV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mIP4A00kOn_Gqz1qSiD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PMmL1HcU6mPQ6XdTub9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yeNaqFHEKJHUsUIgBjy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HOQu7c8UWd9.Q9xiC9h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PJE6kFglkm6tVO9IQThL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o2mc8V7kKvYx56Izpvp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.8aI7u6ki_bwkb0iWwd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0KXbao30.usMxZsCEJK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OXeKDcbEyE6ebEFXOnr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I0jO26ikqEUBDI2kVdE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vAtvqms0iK5J5y6vlgN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PfM4.cp0iAL0GRPw.qk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8YhT_MQqUKHGX5UPiurb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9PuXMvB0GrAn9utsmfg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12.5XI9Eikq6BsYq1VU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k75ejfrk.ZkxSxKPl_g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THjVu6UWXpNYROlNRr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duYGWx6kqLYffv9mYDP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1ZZcFigUiwXPO2oB9YY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.KyW2NukmsHKk7LbF2w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LPifiRNEaP4EHnBGUvH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D4AG8eW0OIaxIF5ZGuj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5chviLQ02vNy1BFbRLK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dNt46CPkeE7ZIGlDe7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I2poKuJky._M9fYYm5.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I2poKuJky._M9fYYm5.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3zwHehPrE6ED.0oqsewP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0xM5AkVkOhk.yf7vvKS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17e0vAFECTugUYWtZb5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L0UtJDWU2Z6A9tslcqS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2QPLVtCEqNFGP5qfrw.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1.Ra8MPkekngWssrACf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ZahHNoHk26Llfim.mX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87xNPIHUKPU0CSfZo4z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oFL4j5PkW7REa6Vm7UH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i89afsMkyV_N2khlHxA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tfIbGBNkuvgnh4Ay9D7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G86XtuAk2cHJ0HmEYXT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i89afsMkyV_N2khlHxA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H9taMumEqzxwBp4wFn4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KjtOUzE0yhALWSGALFb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8zIsMIhUamXhFF.lXnd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Jnhh6beEiJPcQDwR.8n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87990</TotalTime>
  <Words>1355</Words>
  <Application>Microsoft Office PowerPoint</Application>
  <PresentationFormat>Экран (4:3)</PresentationFormat>
  <Paragraphs>256</Paragraphs>
  <Slides>12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4" baseType="lpstr">
      <vt:lpstr>Тема Office</vt:lpstr>
      <vt:lpstr>think-cell Slide</vt:lpstr>
      <vt:lpstr>Практика города Череповца в реализации проектов муниципально-частного партнерства при эффективном использовании ресурсов бизнеса и власти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окольникова Светлана Алексеевна</dc:creator>
  <cp:lastModifiedBy>GRESSER</cp:lastModifiedBy>
  <cp:revision>58</cp:revision>
  <dcterms:created xsi:type="dcterms:W3CDTF">2014-09-30T05:43:14Z</dcterms:created>
  <dcterms:modified xsi:type="dcterms:W3CDTF">2015-04-02T04:05:50Z</dcterms:modified>
</cp:coreProperties>
</file>